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9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2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2" r:id="rId1"/>
  </p:sldMasterIdLst>
  <p:notesMasterIdLst>
    <p:notesMasterId r:id="rId30"/>
  </p:notesMasterIdLst>
  <p:handoutMasterIdLst>
    <p:handoutMasterId r:id="rId31"/>
  </p:handoutMasterIdLst>
  <p:sldIdLst>
    <p:sldId id="443" r:id="rId2"/>
    <p:sldId id="473" r:id="rId3"/>
    <p:sldId id="721" r:id="rId4"/>
    <p:sldId id="722" r:id="rId5"/>
    <p:sldId id="723" r:id="rId6"/>
    <p:sldId id="742" r:id="rId7"/>
    <p:sldId id="743" r:id="rId8"/>
    <p:sldId id="735" r:id="rId9"/>
    <p:sldId id="724" r:id="rId10"/>
    <p:sldId id="725" r:id="rId11"/>
    <p:sldId id="744" r:id="rId12"/>
    <p:sldId id="740" r:id="rId13"/>
    <p:sldId id="726" r:id="rId14"/>
    <p:sldId id="728" r:id="rId15"/>
    <p:sldId id="711" r:id="rId16"/>
    <p:sldId id="705" r:id="rId17"/>
    <p:sldId id="712" r:id="rId18"/>
    <p:sldId id="713" r:id="rId19"/>
    <p:sldId id="716" r:id="rId20"/>
    <p:sldId id="717" r:id="rId21"/>
    <p:sldId id="718" r:id="rId22"/>
    <p:sldId id="719" r:id="rId23"/>
    <p:sldId id="720" r:id="rId24"/>
    <p:sldId id="736" r:id="rId25"/>
    <p:sldId id="739" r:id="rId26"/>
    <p:sldId id="737" r:id="rId27"/>
    <p:sldId id="738" r:id="rId28"/>
    <p:sldId id="741" r:id="rId29"/>
  </p:sldIdLst>
  <p:sldSz cx="9144000" cy="6858000" type="screen4x3"/>
  <p:notesSz cx="6723063" cy="9853613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orient="horz" pos="3672">
          <p15:clr>
            <a:srgbClr val="A4A3A4"/>
          </p15:clr>
        </p15:guide>
        <p15:guide id="3" orient="horz" pos="572">
          <p15:clr>
            <a:srgbClr val="A4A3A4"/>
          </p15:clr>
        </p15:guide>
        <p15:guide id="4" orient="horz" pos="690">
          <p15:clr>
            <a:srgbClr val="A4A3A4"/>
          </p15:clr>
        </p15:guide>
        <p15:guide id="5" orient="horz" pos="1389" userDrawn="1">
          <p15:clr>
            <a:srgbClr val="A4A3A4"/>
          </p15:clr>
        </p15:guide>
        <p15:guide id="6" orient="horz" pos="3844">
          <p15:clr>
            <a:srgbClr val="A4A3A4"/>
          </p15:clr>
        </p15:guide>
        <p15:guide id="7" orient="horz" pos="3985">
          <p15:clr>
            <a:srgbClr val="A4A3A4"/>
          </p15:clr>
        </p15:guide>
        <p15:guide id="8" orient="horz" pos="981" userDrawn="1">
          <p15:clr>
            <a:srgbClr val="A4A3A4"/>
          </p15:clr>
        </p15:guide>
        <p15:guide id="9" pos="317" userDrawn="1">
          <p15:clr>
            <a:srgbClr val="A4A3A4"/>
          </p15:clr>
        </p15:guide>
        <p15:guide id="10" pos="2880">
          <p15:clr>
            <a:srgbClr val="A4A3A4"/>
          </p15:clr>
        </p15:guide>
        <p15:guide id="11" pos="1974">
          <p15:clr>
            <a:srgbClr val="A4A3A4"/>
          </p15:clr>
        </p15:guide>
        <p15:guide id="12" pos="3403">
          <p15:clr>
            <a:srgbClr val="A4A3A4"/>
          </p15:clr>
        </p15:guide>
        <p15:guide id="13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quel Studio" initials="SS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AFBF"/>
    <a:srgbClr val="FFCC00"/>
    <a:srgbClr val="00CC00"/>
    <a:srgbClr val="FF9900"/>
    <a:srgbClr val="1C2980"/>
    <a:srgbClr val="FED3CD"/>
    <a:srgbClr val="FFE4C2"/>
    <a:srgbClr val="E386B3"/>
    <a:srgbClr val="A2255F"/>
    <a:srgbClr val="E3EB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53" autoAdjust="0"/>
    <p:restoredTop sz="94638" autoAdjust="0"/>
  </p:normalViewPr>
  <p:slideViewPr>
    <p:cSldViewPr snapToGrid="0" showGuides="1">
      <p:cViewPr varScale="1">
        <p:scale>
          <a:sx n="79" d="100"/>
          <a:sy n="79" d="100"/>
        </p:scale>
        <p:origin x="1133" y="72"/>
      </p:cViewPr>
      <p:guideLst>
        <p:guide orient="horz" pos="1071"/>
        <p:guide orient="horz" pos="3672"/>
        <p:guide orient="horz" pos="572"/>
        <p:guide orient="horz" pos="690"/>
        <p:guide orient="horz" pos="1389"/>
        <p:guide orient="horz" pos="3844"/>
        <p:guide orient="horz" pos="3985"/>
        <p:guide orient="horz" pos="981"/>
        <p:guide pos="317"/>
        <p:guide pos="2880"/>
        <p:guide pos="1974"/>
        <p:guide pos="3403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-3810" y="-84"/>
      </p:cViewPr>
      <p:guideLst>
        <p:guide orient="horz" pos="3104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5CED0C-EC2B-43F6-82AA-37BE6E3AE63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CE25253E-9082-4A00-9667-C950980A27F9}">
      <dgm:prSet phldrT="[Text]"/>
      <dgm:spPr/>
      <dgm:t>
        <a:bodyPr/>
        <a:lstStyle/>
        <a:p>
          <a:r>
            <a:rPr lang="en-US" altLang="zh-CN" dirty="0" smtClean="0"/>
            <a:t>Split HAE and non-HAE into 5 simulations</a:t>
          </a:r>
          <a:endParaRPr lang="zh-CN" altLang="en-US" dirty="0"/>
        </a:p>
      </dgm:t>
    </dgm:pt>
    <dgm:pt modelId="{68188CE6-CC65-4AF7-8858-758311751BC2}" type="parTrans" cxnId="{70C61F81-74DC-47C6-8EE1-B332E4C0C69C}">
      <dgm:prSet/>
      <dgm:spPr/>
      <dgm:t>
        <a:bodyPr/>
        <a:lstStyle/>
        <a:p>
          <a:endParaRPr lang="zh-CN" altLang="en-US"/>
        </a:p>
      </dgm:t>
    </dgm:pt>
    <dgm:pt modelId="{4E260E8D-1528-449F-B642-E741C513CD39}" type="sibTrans" cxnId="{70C61F81-74DC-47C6-8EE1-B332E4C0C69C}">
      <dgm:prSet/>
      <dgm:spPr/>
      <dgm:t>
        <a:bodyPr/>
        <a:lstStyle/>
        <a:p>
          <a:endParaRPr lang="zh-CN" altLang="en-US"/>
        </a:p>
      </dgm:t>
    </dgm:pt>
    <dgm:pt modelId="{B19615DC-063A-4F0B-90F4-8767DECA5B75}">
      <dgm:prSet phldrT="[Text]"/>
      <dgm:spPr/>
      <dgm:t>
        <a:bodyPr/>
        <a:lstStyle/>
        <a:p>
          <a:r>
            <a:rPr lang="en-US" altLang="zh-CN" dirty="0" smtClean="0"/>
            <a:t>Bagging random forest in each simulation</a:t>
          </a:r>
          <a:endParaRPr lang="zh-CN" altLang="en-US" dirty="0"/>
        </a:p>
      </dgm:t>
    </dgm:pt>
    <dgm:pt modelId="{CF10637A-0FEC-48B1-9D02-2C52C75B1034}" type="parTrans" cxnId="{0D0C07D9-6AEE-4D88-AA7B-62970CD73893}">
      <dgm:prSet/>
      <dgm:spPr/>
      <dgm:t>
        <a:bodyPr/>
        <a:lstStyle/>
        <a:p>
          <a:endParaRPr lang="zh-CN" altLang="en-US"/>
        </a:p>
      </dgm:t>
    </dgm:pt>
    <dgm:pt modelId="{A7C82268-425D-4818-9413-566E46D5DCFD}" type="sibTrans" cxnId="{0D0C07D9-6AEE-4D88-AA7B-62970CD73893}">
      <dgm:prSet/>
      <dgm:spPr/>
      <dgm:t>
        <a:bodyPr/>
        <a:lstStyle/>
        <a:p>
          <a:endParaRPr lang="zh-CN" altLang="en-US"/>
        </a:p>
      </dgm:t>
    </dgm:pt>
    <dgm:pt modelId="{337F96D3-F5FD-4567-A897-A91948100689}">
      <dgm:prSet phldrT="[Text]"/>
      <dgm:spPr/>
      <dgm:t>
        <a:bodyPr/>
        <a:lstStyle/>
        <a:p>
          <a:r>
            <a:rPr lang="en-US" altLang="zh-CN" dirty="0" smtClean="0"/>
            <a:t>Get performance on test data</a:t>
          </a:r>
          <a:endParaRPr lang="zh-CN" altLang="en-US" dirty="0"/>
        </a:p>
      </dgm:t>
    </dgm:pt>
    <dgm:pt modelId="{4819AEF4-65E3-44AF-8C93-3A2E13C8186F}" type="parTrans" cxnId="{19A87C98-BE65-426A-9089-3AD29726C895}">
      <dgm:prSet/>
      <dgm:spPr/>
      <dgm:t>
        <a:bodyPr/>
        <a:lstStyle/>
        <a:p>
          <a:endParaRPr lang="zh-CN" altLang="en-US"/>
        </a:p>
      </dgm:t>
    </dgm:pt>
    <dgm:pt modelId="{86D02962-F0E1-4EF9-A7A3-648A8431536C}" type="sibTrans" cxnId="{19A87C98-BE65-426A-9089-3AD29726C895}">
      <dgm:prSet/>
      <dgm:spPr/>
      <dgm:t>
        <a:bodyPr/>
        <a:lstStyle/>
        <a:p>
          <a:endParaRPr lang="zh-CN" altLang="en-US"/>
        </a:p>
      </dgm:t>
    </dgm:pt>
    <dgm:pt modelId="{56F34445-441B-4723-91F8-FF4ADB3DE5F5}">
      <dgm:prSet/>
      <dgm:spPr/>
      <dgm:t>
        <a:bodyPr/>
        <a:lstStyle/>
        <a:p>
          <a:r>
            <a:rPr lang="en-US" altLang="zh-CN" dirty="0" smtClean="0"/>
            <a:t>Split HAE </a:t>
          </a:r>
          <a:endParaRPr lang="zh-CN" altLang="en-US" dirty="0"/>
        </a:p>
      </dgm:t>
    </dgm:pt>
    <dgm:pt modelId="{9082D063-93B8-4446-B226-AEFA8E3E7D7D}" type="parTrans" cxnId="{5211E866-65D0-454C-8AFE-F78C66A34D01}">
      <dgm:prSet/>
      <dgm:spPr/>
      <dgm:t>
        <a:bodyPr/>
        <a:lstStyle/>
        <a:p>
          <a:endParaRPr lang="zh-CN" altLang="en-US"/>
        </a:p>
      </dgm:t>
    </dgm:pt>
    <dgm:pt modelId="{43DE7D13-F0CB-48D3-A295-33ED481F2DC4}" type="sibTrans" cxnId="{5211E866-65D0-454C-8AFE-F78C66A34D01}">
      <dgm:prSet/>
      <dgm:spPr/>
      <dgm:t>
        <a:bodyPr/>
        <a:lstStyle/>
        <a:p>
          <a:endParaRPr lang="zh-CN" altLang="en-US"/>
        </a:p>
      </dgm:t>
    </dgm:pt>
    <dgm:pt modelId="{26B62005-B9CC-442A-9D3E-4EEC477D134E}">
      <dgm:prSet/>
      <dgm:spPr/>
      <dgm:t>
        <a:bodyPr/>
        <a:lstStyle/>
        <a:p>
          <a:r>
            <a:rPr lang="en-US" altLang="zh-CN" dirty="0" smtClean="0"/>
            <a:t>Extract the corresponding non-HAE in each simulation using matching relationship</a:t>
          </a:r>
          <a:endParaRPr lang="zh-CN" altLang="en-US" dirty="0"/>
        </a:p>
      </dgm:t>
    </dgm:pt>
    <dgm:pt modelId="{C2F8F56A-75A7-4B51-A21B-66C57B05962F}" type="parTrans" cxnId="{7AA718B3-8489-4325-9FE9-8C943587150A}">
      <dgm:prSet/>
      <dgm:spPr/>
      <dgm:t>
        <a:bodyPr/>
        <a:lstStyle/>
        <a:p>
          <a:endParaRPr lang="zh-CN" altLang="en-US"/>
        </a:p>
      </dgm:t>
    </dgm:pt>
    <dgm:pt modelId="{6513081E-7596-49C0-9E2F-2213972B885A}" type="sibTrans" cxnId="{7AA718B3-8489-4325-9FE9-8C943587150A}">
      <dgm:prSet/>
      <dgm:spPr/>
      <dgm:t>
        <a:bodyPr/>
        <a:lstStyle/>
        <a:p>
          <a:endParaRPr lang="zh-CN" altLang="en-US"/>
        </a:p>
      </dgm:t>
    </dgm:pt>
    <dgm:pt modelId="{6C235C0C-15B0-4C4A-B17D-54E26B4B8298}">
      <dgm:prSet/>
      <dgm:spPr/>
      <dgm:t>
        <a:bodyPr/>
        <a:lstStyle/>
        <a:p>
          <a:r>
            <a:rPr lang="en-US" altLang="zh-CN" dirty="0" smtClean="0"/>
            <a:t>For the test data of each simulation, </a:t>
          </a:r>
          <a:endParaRPr lang="zh-CN" altLang="en-US" dirty="0"/>
        </a:p>
      </dgm:t>
    </dgm:pt>
    <dgm:pt modelId="{5DA97C8D-7526-4BE1-A9ED-C18973404B77}" type="parTrans" cxnId="{35C782D9-824F-4ABB-8B62-77961E254253}">
      <dgm:prSet/>
      <dgm:spPr/>
      <dgm:t>
        <a:bodyPr/>
        <a:lstStyle/>
        <a:p>
          <a:endParaRPr lang="zh-CN" altLang="en-US"/>
        </a:p>
      </dgm:t>
    </dgm:pt>
    <dgm:pt modelId="{BE55482F-487F-4119-BA98-8FBBAE30361A}" type="sibTrans" cxnId="{35C782D9-824F-4ABB-8B62-77961E254253}">
      <dgm:prSet/>
      <dgm:spPr/>
      <dgm:t>
        <a:bodyPr/>
        <a:lstStyle/>
        <a:p>
          <a:endParaRPr lang="zh-CN" altLang="en-US"/>
        </a:p>
      </dgm:t>
    </dgm:pt>
    <dgm:pt modelId="{B248E446-387A-42F4-9B83-D378700ECC38}">
      <dgm:prSet/>
      <dgm:spPr/>
      <dgm:t>
        <a:bodyPr/>
        <a:lstStyle/>
        <a:p>
          <a:r>
            <a:rPr lang="en-GB" altLang="zh-CN" dirty="0" smtClean="0"/>
            <a:t>Apply the N random forest models to the test data to get N predict scores for each patients</a:t>
          </a:r>
          <a:endParaRPr lang="zh-CN" altLang="en-US" dirty="0"/>
        </a:p>
      </dgm:t>
    </dgm:pt>
    <dgm:pt modelId="{476A7CA0-4795-4EC0-8613-A0B3949563B1}" type="parTrans" cxnId="{9DA1276F-C7FE-402B-90EE-D3DF593CB42C}">
      <dgm:prSet/>
      <dgm:spPr/>
      <dgm:t>
        <a:bodyPr/>
        <a:lstStyle/>
        <a:p>
          <a:endParaRPr lang="zh-CN" altLang="en-US"/>
        </a:p>
      </dgm:t>
    </dgm:pt>
    <dgm:pt modelId="{E9D79DC4-1F9C-430C-A680-86C4BC32108A}" type="sibTrans" cxnId="{9DA1276F-C7FE-402B-90EE-D3DF593CB42C}">
      <dgm:prSet/>
      <dgm:spPr/>
      <dgm:t>
        <a:bodyPr/>
        <a:lstStyle/>
        <a:p>
          <a:endParaRPr lang="zh-CN" altLang="en-US"/>
        </a:p>
      </dgm:t>
    </dgm:pt>
    <dgm:pt modelId="{D59EC648-64A8-4F27-A528-AE3DC9921BED}">
      <dgm:prSet/>
      <dgm:spPr/>
      <dgm:t>
        <a:bodyPr/>
        <a:lstStyle/>
        <a:p>
          <a:r>
            <a:rPr lang="en-GB" altLang="zh-CN" dirty="0" smtClean="0"/>
            <a:t>Aggregate(average) the predict scores from the N models for test patients</a:t>
          </a:r>
          <a:endParaRPr lang="zh-CN" altLang="en-US" dirty="0"/>
        </a:p>
      </dgm:t>
    </dgm:pt>
    <dgm:pt modelId="{B604B30F-2F93-468B-92AC-B6D4F61D5CF9}" type="parTrans" cxnId="{C7A804DD-9D8F-4CC0-9B04-7486B50C1D17}">
      <dgm:prSet/>
      <dgm:spPr/>
      <dgm:t>
        <a:bodyPr/>
        <a:lstStyle/>
        <a:p>
          <a:endParaRPr lang="zh-CN" altLang="en-US"/>
        </a:p>
      </dgm:t>
    </dgm:pt>
    <dgm:pt modelId="{F468A7D5-D06F-45E3-9E22-EAB2514ABCF6}" type="sibTrans" cxnId="{C7A804DD-9D8F-4CC0-9B04-7486B50C1D17}">
      <dgm:prSet/>
      <dgm:spPr/>
      <dgm:t>
        <a:bodyPr/>
        <a:lstStyle/>
        <a:p>
          <a:endParaRPr lang="zh-CN" altLang="en-US"/>
        </a:p>
      </dgm:t>
    </dgm:pt>
    <dgm:pt modelId="{FDDA268D-A945-4937-82FD-D26AACBC4891}">
      <dgm:prSet/>
      <dgm:spPr/>
      <dgm:t>
        <a:bodyPr/>
        <a:lstStyle/>
        <a:p>
          <a:r>
            <a:rPr lang="en-GB" altLang="zh-CN" dirty="0" smtClean="0"/>
            <a:t>Aggregated the precision of 5 simulations by targeting recalls</a:t>
          </a:r>
          <a:endParaRPr lang="zh-CN" altLang="zh-CN" dirty="0"/>
        </a:p>
      </dgm:t>
    </dgm:pt>
    <dgm:pt modelId="{35546204-7447-4268-81EA-765647622026}" type="parTrans" cxnId="{72706D9F-F275-4694-A512-18C810D0E8C6}">
      <dgm:prSet/>
      <dgm:spPr/>
      <dgm:t>
        <a:bodyPr/>
        <a:lstStyle/>
        <a:p>
          <a:endParaRPr lang="zh-CN" altLang="en-US"/>
        </a:p>
      </dgm:t>
    </dgm:pt>
    <dgm:pt modelId="{489735F5-EAFC-40A5-B59B-67FF1292A4DA}" type="sibTrans" cxnId="{72706D9F-F275-4694-A512-18C810D0E8C6}">
      <dgm:prSet/>
      <dgm:spPr/>
      <dgm:t>
        <a:bodyPr/>
        <a:lstStyle/>
        <a:p>
          <a:endParaRPr lang="zh-CN" altLang="en-US"/>
        </a:p>
      </dgm:t>
    </dgm:pt>
    <dgm:pt modelId="{F319731A-98A0-4D7D-BBE0-8318E390A5D9}">
      <dgm:prSet/>
      <dgm:spPr/>
      <dgm:t>
        <a:bodyPr/>
        <a:lstStyle/>
        <a:p>
          <a:r>
            <a:rPr lang="en-GB" altLang="zh-CN" dirty="0" smtClean="0"/>
            <a:t>get N random forest models</a:t>
          </a:r>
          <a:endParaRPr lang="zh-CN" altLang="en-US" dirty="0"/>
        </a:p>
      </dgm:t>
    </dgm:pt>
    <dgm:pt modelId="{24A44401-3FF8-45A1-BDA2-941A86B0564A}" type="sibTrans" cxnId="{E071A23D-F5B6-4B7C-AB0F-355AAC42CDB6}">
      <dgm:prSet/>
      <dgm:spPr/>
      <dgm:t>
        <a:bodyPr/>
        <a:lstStyle/>
        <a:p>
          <a:endParaRPr lang="zh-CN" altLang="en-US"/>
        </a:p>
      </dgm:t>
    </dgm:pt>
    <dgm:pt modelId="{09F1B4AD-B740-4B56-9DD0-DA180EAD7FB3}" type="parTrans" cxnId="{E071A23D-F5B6-4B7C-AB0F-355AAC42CDB6}">
      <dgm:prSet/>
      <dgm:spPr/>
      <dgm:t>
        <a:bodyPr/>
        <a:lstStyle/>
        <a:p>
          <a:endParaRPr lang="zh-CN" altLang="en-US"/>
        </a:p>
      </dgm:t>
    </dgm:pt>
    <dgm:pt modelId="{3AEA0EFA-64A4-471F-8B82-23AFB854C36A}">
      <dgm:prSet/>
      <dgm:spPr/>
      <dgm:t>
        <a:bodyPr/>
        <a:lstStyle/>
        <a:p>
          <a:r>
            <a:rPr lang="en-GB" altLang="zh-CN" dirty="0" smtClean="0"/>
            <a:t>Combining each part of </a:t>
          </a:r>
          <a:r>
            <a:rPr lang="en-GB" altLang="zh-CN" dirty="0" err="1" smtClean="0"/>
            <a:t>nonHAE</a:t>
          </a:r>
          <a:r>
            <a:rPr lang="en-GB" altLang="zh-CN" dirty="0" smtClean="0"/>
            <a:t> with HAE dataset to fit the random forest</a:t>
          </a:r>
          <a:endParaRPr lang="zh-CN" altLang="en-US" dirty="0"/>
        </a:p>
      </dgm:t>
    </dgm:pt>
    <dgm:pt modelId="{B7271EAD-A053-4AB7-AFF6-77F7BBE24048}" type="sibTrans" cxnId="{33FE8BCA-D819-45D2-9CA0-A27CDF5D8037}">
      <dgm:prSet/>
      <dgm:spPr/>
      <dgm:t>
        <a:bodyPr/>
        <a:lstStyle/>
        <a:p>
          <a:endParaRPr lang="zh-CN" altLang="en-US"/>
        </a:p>
      </dgm:t>
    </dgm:pt>
    <dgm:pt modelId="{9C60039F-08DF-433C-B0D5-AC89CA074874}" type="parTrans" cxnId="{33FE8BCA-D819-45D2-9CA0-A27CDF5D8037}">
      <dgm:prSet/>
      <dgm:spPr/>
      <dgm:t>
        <a:bodyPr/>
        <a:lstStyle/>
        <a:p>
          <a:endParaRPr lang="zh-CN" altLang="en-US"/>
        </a:p>
      </dgm:t>
    </dgm:pt>
    <dgm:pt modelId="{37748D2A-10E7-47E6-92A4-98F7B9024508}">
      <dgm:prSet/>
      <dgm:spPr/>
      <dgm:t>
        <a:bodyPr/>
        <a:lstStyle/>
        <a:p>
          <a:r>
            <a:rPr lang="en-US" altLang="zh-CN" dirty="0" smtClean="0"/>
            <a:t>e.g. for N=10 the </a:t>
          </a:r>
          <a:r>
            <a:rPr lang="en-US" altLang="zh-CN" dirty="0" err="1" smtClean="0"/>
            <a:t>HAE:nonHAE</a:t>
          </a:r>
          <a:r>
            <a:rPr lang="en-US" altLang="zh-CN" dirty="0" smtClean="0"/>
            <a:t> in each part is 1:20(200/10)</a:t>
          </a:r>
          <a:endParaRPr lang="zh-CN" altLang="en-US" dirty="0"/>
        </a:p>
      </dgm:t>
    </dgm:pt>
    <dgm:pt modelId="{918950C4-61CC-4D18-BF86-E61B4F187BED}" type="sibTrans" cxnId="{11D6F455-63C3-409E-A7C3-6933B8AF9B2E}">
      <dgm:prSet/>
      <dgm:spPr/>
      <dgm:t>
        <a:bodyPr/>
        <a:lstStyle/>
        <a:p>
          <a:endParaRPr lang="zh-CN" altLang="en-US"/>
        </a:p>
      </dgm:t>
    </dgm:pt>
    <dgm:pt modelId="{B13256C2-AE7F-47BB-BC59-97348F02D94B}" type="parTrans" cxnId="{11D6F455-63C3-409E-A7C3-6933B8AF9B2E}">
      <dgm:prSet/>
      <dgm:spPr/>
      <dgm:t>
        <a:bodyPr/>
        <a:lstStyle/>
        <a:p>
          <a:endParaRPr lang="zh-CN" altLang="en-US"/>
        </a:p>
      </dgm:t>
    </dgm:pt>
    <dgm:pt modelId="{E1EDF178-27FE-4B22-9898-81648A983CBD}">
      <dgm:prSet/>
      <dgm:spPr/>
      <dgm:t>
        <a:bodyPr/>
        <a:lstStyle/>
        <a:p>
          <a:r>
            <a:rPr lang="en-US" altLang="zh-CN" dirty="0" smtClean="0"/>
            <a:t>For the training data, split the non-HAE into N parts</a:t>
          </a:r>
          <a:endParaRPr lang="zh-CN" altLang="en-US" dirty="0"/>
        </a:p>
      </dgm:t>
    </dgm:pt>
    <dgm:pt modelId="{11803C85-2C26-4BC6-A314-B8C18C50BBD6}" type="sibTrans" cxnId="{7B4062BD-2C92-4314-A21D-5DD7CF76C42C}">
      <dgm:prSet/>
      <dgm:spPr/>
      <dgm:t>
        <a:bodyPr/>
        <a:lstStyle/>
        <a:p>
          <a:endParaRPr lang="zh-CN" altLang="en-US"/>
        </a:p>
      </dgm:t>
    </dgm:pt>
    <dgm:pt modelId="{1BB2F434-0AD1-4FA1-94C2-BE4FE46CFC97}" type="parTrans" cxnId="{7B4062BD-2C92-4314-A21D-5DD7CF76C42C}">
      <dgm:prSet/>
      <dgm:spPr/>
      <dgm:t>
        <a:bodyPr/>
        <a:lstStyle/>
        <a:p>
          <a:endParaRPr lang="zh-CN" altLang="en-US"/>
        </a:p>
      </dgm:t>
    </dgm:pt>
    <dgm:pt modelId="{3FEA1AF9-F513-4479-815D-EC815A868241}">
      <dgm:prSet/>
      <dgm:spPr/>
      <dgm:t>
        <a:bodyPr/>
        <a:lstStyle/>
        <a:p>
          <a:r>
            <a:rPr lang="en-GB" altLang="zh-CN" dirty="0" smtClean="0"/>
            <a:t>For each simulation, get the model performance on the test data. (recall precision pairs)</a:t>
          </a:r>
          <a:endParaRPr lang="zh-CN" altLang="zh-CN" dirty="0"/>
        </a:p>
      </dgm:t>
    </dgm:pt>
    <dgm:pt modelId="{F88DE803-C1FC-4AB1-95D1-F3402D29B974}" type="sibTrans" cxnId="{33CA1A27-4257-4C32-B576-849C9138E5DD}">
      <dgm:prSet/>
      <dgm:spPr/>
      <dgm:t>
        <a:bodyPr/>
        <a:lstStyle/>
        <a:p>
          <a:endParaRPr lang="zh-CN" altLang="en-US"/>
        </a:p>
      </dgm:t>
    </dgm:pt>
    <dgm:pt modelId="{65734D09-C774-4BAA-BBC5-986943E995D1}" type="parTrans" cxnId="{33CA1A27-4257-4C32-B576-849C9138E5DD}">
      <dgm:prSet/>
      <dgm:spPr/>
      <dgm:t>
        <a:bodyPr/>
        <a:lstStyle/>
        <a:p>
          <a:endParaRPr lang="zh-CN" altLang="en-US"/>
        </a:p>
      </dgm:t>
    </dgm:pt>
    <dgm:pt modelId="{E54BDCA4-1E5C-4B93-9219-3FBB043F5950}">
      <dgm:prSet/>
      <dgm:spPr/>
      <dgm:t>
        <a:bodyPr/>
        <a:lstStyle/>
        <a:p>
          <a:r>
            <a:rPr lang="en-GB" altLang="zh-CN" dirty="0" smtClean="0"/>
            <a:t>Get the averaged predict score for the test dataset.</a:t>
          </a:r>
          <a:endParaRPr lang="zh-CN" altLang="en-US" dirty="0"/>
        </a:p>
      </dgm:t>
    </dgm:pt>
    <dgm:pt modelId="{245B85E7-D10E-43DE-A9F1-C2E81A5E64FC}" type="sibTrans" cxnId="{3367E3BD-2E26-4B55-A2D3-923F70788A94}">
      <dgm:prSet/>
      <dgm:spPr/>
      <dgm:t>
        <a:bodyPr/>
        <a:lstStyle/>
        <a:p>
          <a:endParaRPr lang="zh-CN" altLang="en-US"/>
        </a:p>
      </dgm:t>
    </dgm:pt>
    <dgm:pt modelId="{F3462E2F-07F8-4987-81E8-4E2C3ECC25EE}" type="parTrans" cxnId="{3367E3BD-2E26-4B55-A2D3-923F70788A94}">
      <dgm:prSet/>
      <dgm:spPr/>
      <dgm:t>
        <a:bodyPr/>
        <a:lstStyle/>
        <a:p>
          <a:endParaRPr lang="zh-CN" altLang="en-US"/>
        </a:p>
      </dgm:t>
    </dgm:pt>
    <dgm:pt modelId="{4A2FB91E-D37E-4ADD-AEC9-042AC22B60CA}" type="pres">
      <dgm:prSet presAssocID="{B15CED0C-EC2B-43F6-82AA-37BE6E3AE63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1E14B92D-EE76-480F-94F1-63D8D72847C2}" type="pres">
      <dgm:prSet presAssocID="{CE25253E-9082-4A00-9667-C950980A27F9}" presName="parentLin" presStyleCnt="0"/>
      <dgm:spPr/>
    </dgm:pt>
    <dgm:pt modelId="{C18EBB53-9F4B-424B-A9A9-B964ED013065}" type="pres">
      <dgm:prSet presAssocID="{CE25253E-9082-4A00-9667-C950980A27F9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0F2B9E7E-BEC6-4406-8F75-00AF4A0BA79F}" type="pres">
      <dgm:prSet presAssocID="{CE25253E-9082-4A00-9667-C950980A27F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3519747-33D5-4B45-9F94-C57F11AF1BF2}" type="pres">
      <dgm:prSet presAssocID="{CE25253E-9082-4A00-9667-C950980A27F9}" presName="negativeSpace" presStyleCnt="0"/>
      <dgm:spPr/>
    </dgm:pt>
    <dgm:pt modelId="{1D24424F-2292-4730-A211-6C7998465EA0}" type="pres">
      <dgm:prSet presAssocID="{CE25253E-9082-4A00-9667-C950980A27F9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B60CCE2-5383-418C-8007-4CE5D18D9841}" type="pres">
      <dgm:prSet presAssocID="{4E260E8D-1528-449F-B642-E741C513CD39}" presName="spaceBetweenRectangles" presStyleCnt="0"/>
      <dgm:spPr/>
    </dgm:pt>
    <dgm:pt modelId="{D01ADD2E-F0A1-41D5-92FA-1799C323F652}" type="pres">
      <dgm:prSet presAssocID="{B19615DC-063A-4F0B-90F4-8767DECA5B75}" presName="parentLin" presStyleCnt="0"/>
      <dgm:spPr/>
    </dgm:pt>
    <dgm:pt modelId="{6EBD9402-2369-4BA8-9267-89A96BAFF7A7}" type="pres">
      <dgm:prSet presAssocID="{B19615DC-063A-4F0B-90F4-8767DECA5B75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D11AC340-2703-44E4-BA74-B5CFCF879F28}" type="pres">
      <dgm:prSet presAssocID="{B19615DC-063A-4F0B-90F4-8767DECA5B7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D1519C7-06A7-4619-AAA9-60BC90363BCB}" type="pres">
      <dgm:prSet presAssocID="{B19615DC-063A-4F0B-90F4-8767DECA5B75}" presName="negativeSpace" presStyleCnt="0"/>
      <dgm:spPr/>
    </dgm:pt>
    <dgm:pt modelId="{40688125-3DD6-41E9-9D51-95EFFBFDDCE4}" type="pres">
      <dgm:prSet presAssocID="{B19615DC-063A-4F0B-90F4-8767DECA5B7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FE8DD55-AEC4-4151-9AAE-C07308FFA52F}" type="pres">
      <dgm:prSet presAssocID="{A7C82268-425D-4818-9413-566E46D5DCFD}" presName="spaceBetweenRectangles" presStyleCnt="0"/>
      <dgm:spPr/>
    </dgm:pt>
    <dgm:pt modelId="{15A9B0A5-19B4-4D43-8D12-61FB43547643}" type="pres">
      <dgm:prSet presAssocID="{337F96D3-F5FD-4567-A897-A91948100689}" presName="parentLin" presStyleCnt="0"/>
      <dgm:spPr/>
    </dgm:pt>
    <dgm:pt modelId="{1FD2C3E9-29D7-408C-ADFD-C3B3FA5C9351}" type="pres">
      <dgm:prSet presAssocID="{337F96D3-F5FD-4567-A897-A91948100689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436C9894-1D1D-442D-AF2F-284C139E3CAC}" type="pres">
      <dgm:prSet presAssocID="{337F96D3-F5FD-4567-A897-A9194810068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79FAD7D-7CB5-45FC-BF32-48241D736E65}" type="pres">
      <dgm:prSet presAssocID="{337F96D3-F5FD-4567-A897-A91948100689}" presName="negativeSpace" presStyleCnt="0"/>
      <dgm:spPr/>
    </dgm:pt>
    <dgm:pt modelId="{E7B4C407-35F2-450C-8A3B-A6D65C695141}" type="pres">
      <dgm:prSet presAssocID="{337F96D3-F5FD-4567-A897-A91948100689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F3556B7-6F83-4269-9371-B03F1F18471C}" type="presOf" srcId="{D59EC648-64A8-4F27-A528-AE3DC9921BED}" destId="{E7B4C407-35F2-450C-8A3B-A6D65C695141}" srcOrd="0" destOrd="2" presId="urn:microsoft.com/office/officeart/2005/8/layout/list1"/>
    <dgm:cxn modelId="{78924624-F6A2-4621-A34C-851D89C51FA3}" type="presOf" srcId="{CE25253E-9082-4A00-9667-C950980A27F9}" destId="{C18EBB53-9F4B-424B-A9A9-B964ED013065}" srcOrd="0" destOrd="0" presId="urn:microsoft.com/office/officeart/2005/8/layout/list1"/>
    <dgm:cxn modelId="{72706D9F-F275-4694-A512-18C810D0E8C6}" srcId="{337F96D3-F5FD-4567-A897-A91948100689}" destId="{FDDA268D-A945-4937-82FD-D26AACBC4891}" srcOrd="5" destOrd="0" parTransId="{35546204-7447-4268-81EA-765647622026}" sibTransId="{489735F5-EAFC-40A5-B59B-67FF1292A4DA}"/>
    <dgm:cxn modelId="{C2B4039F-AFD2-4090-9F87-4A3F3FF1811D}" type="presOf" srcId="{337F96D3-F5FD-4567-A897-A91948100689}" destId="{436C9894-1D1D-442D-AF2F-284C139E3CAC}" srcOrd="1" destOrd="0" presId="urn:microsoft.com/office/officeart/2005/8/layout/list1"/>
    <dgm:cxn modelId="{3367E3BD-2E26-4B55-A2D3-923F70788A94}" srcId="{337F96D3-F5FD-4567-A897-A91948100689}" destId="{E54BDCA4-1E5C-4B93-9219-3FBB043F5950}" srcOrd="3" destOrd="0" parTransId="{F3462E2F-07F8-4987-81E8-4E2C3ECC25EE}" sibTransId="{245B85E7-D10E-43DE-A9F1-C2E81A5E64FC}"/>
    <dgm:cxn modelId="{84CD1927-13DB-48A1-B7C6-4041A81F66C0}" type="presOf" srcId="{26B62005-B9CC-442A-9D3E-4EEC477D134E}" destId="{1D24424F-2292-4730-A211-6C7998465EA0}" srcOrd="0" destOrd="1" presId="urn:microsoft.com/office/officeart/2005/8/layout/list1"/>
    <dgm:cxn modelId="{C7A804DD-9D8F-4CC0-9B04-7486B50C1D17}" srcId="{337F96D3-F5FD-4567-A897-A91948100689}" destId="{D59EC648-64A8-4F27-A528-AE3DC9921BED}" srcOrd="2" destOrd="0" parTransId="{B604B30F-2F93-468B-92AC-B6D4F61D5CF9}" sibTransId="{F468A7D5-D06F-45E3-9E22-EAB2514ABCF6}"/>
    <dgm:cxn modelId="{7B4062BD-2C92-4314-A21D-5DD7CF76C42C}" srcId="{B19615DC-063A-4F0B-90F4-8767DECA5B75}" destId="{E1EDF178-27FE-4B22-9898-81648A983CBD}" srcOrd="0" destOrd="0" parTransId="{1BB2F434-0AD1-4FA1-94C2-BE4FE46CFC97}" sibTransId="{11803C85-2C26-4BC6-A314-B8C18C50BBD6}"/>
    <dgm:cxn modelId="{9DA1276F-C7FE-402B-90EE-D3DF593CB42C}" srcId="{337F96D3-F5FD-4567-A897-A91948100689}" destId="{B248E446-387A-42F4-9B83-D378700ECC38}" srcOrd="1" destOrd="0" parTransId="{476A7CA0-4795-4EC0-8613-A0B3949563B1}" sibTransId="{E9D79DC4-1F9C-430C-A680-86C4BC32108A}"/>
    <dgm:cxn modelId="{46C0A73C-1206-4B6E-8E64-255ACCC758D3}" type="presOf" srcId="{B15CED0C-EC2B-43F6-82AA-37BE6E3AE639}" destId="{4A2FB91E-D37E-4ADD-AEC9-042AC22B60CA}" srcOrd="0" destOrd="0" presId="urn:microsoft.com/office/officeart/2005/8/layout/list1"/>
    <dgm:cxn modelId="{95F739B9-5F91-4E65-8FEC-A493AC6895F9}" type="presOf" srcId="{3AEA0EFA-64A4-471F-8B82-23AFB854C36A}" destId="{40688125-3DD6-41E9-9D51-95EFFBFDDCE4}" srcOrd="0" destOrd="2" presId="urn:microsoft.com/office/officeart/2005/8/layout/list1"/>
    <dgm:cxn modelId="{83561732-FE03-4472-8D65-B342DF9757E6}" type="presOf" srcId="{E1EDF178-27FE-4B22-9898-81648A983CBD}" destId="{40688125-3DD6-41E9-9D51-95EFFBFDDCE4}" srcOrd="0" destOrd="0" presId="urn:microsoft.com/office/officeart/2005/8/layout/list1"/>
    <dgm:cxn modelId="{A4C5F075-5EC7-4D9C-B7AF-C27AA120B1CF}" type="presOf" srcId="{37748D2A-10E7-47E6-92A4-98F7B9024508}" destId="{40688125-3DD6-41E9-9D51-95EFFBFDDCE4}" srcOrd="0" destOrd="1" presId="urn:microsoft.com/office/officeart/2005/8/layout/list1"/>
    <dgm:cxn modelId="{9C78DCFD-11B4-4147-BD80-B869329852BA}" type="presOf" srcId="{E54BDCA4-1E5C-4B93-9219-3FBB043F5950}" destId="{E7B4C407-35F2-450C-8A3B-A6D65C695141}" srcOrd="0" destOrd="3" presId="urn:microsoft.com/office/officeart/2005/8/layout/list1"/>
    <dgm:cxn modelId="{3E17EB1D-07EE-4696-ADD5-5E53F477A898}" type="presOf" srcId="{CE25253E-9082-4A00-9667-C950980A27F9}" destId="{0F2B9E7E-BEC6-4406-8F75-00AF4A0BA79F}" srcOrd="1" destOrd="0" presId="urn:microsoft.com/office/officeart/2005/8/layout/list1"/>
    <dgm:cxn modelId="{33FE8BCA-D819-45D2-9CA0-A27CDF5D8037}" srcId="{B19615DC-063A-4F0B-90F4-8767DECA5B75}" destId="{3AEA0EFA-64A4-471F-8B82-23AFB854C36A}" srcOrd="2" destOrd="0" parTransId="{9C60039F-08DF-433C-B0D5-AC89CA074874}" sibTransId="{B7271EAD-A053-4AB7-AFF6-77F7BBE24048}"/>
    <dgm:cxn modelId="{0D0C07D9-6AEE-4D88-AA7B-62970CD73893}" srcId="{B15CED0C-EC2B-43F6-82AA-37BE6E3AE639}" destId="{B19615DC-063A-4F0B-90F4-8767DECA5B75}" srcOrd="1" destOrd="0" parTransId="{CF10637A-0FEC-48B1-9D02-2C52C75B1034}" sibTransId="{A7C82268-425D-4818-9413-566E46D5DCFD}"/>
    <dgm:cxn modelId="{70C61F81-74DC-47C6-8EE1-B332E4C0C69C}" srcId="{B15CED0C-EC2B-43F6-82AA-37BE6E3AE639}" destId="{CE25253E-9082-4A00-9667-C950980A27F9}" srcOrd="0" destOrd="0" parTransId="{68188CE6-CC65-4AF7-8858-758311751BC2}" sibTransId="{4E260E8D-1528-449F-B642-E741C513CD39}"/>
    <dgm:cxn modelId="{EFDE12D0-74A1-4A26-B74A-7489CD7A8779}" type="presOf" srcId="{6C235C0C-15B0-4C4A-B17D-54E26B4B8298}" destId="{E7B4C407-35F2-450C-8A3B-A6D65C695141}" srcOrd="0" destOrd="0" presId="urn:microsoft.com/office/officeart/2005/8/layout/list1"/>
    <dgm:cxn modelId="{33CA1A27-4257-4C32-B576-849C9138E5DD}" srcId="{337F96D3-F5FD-4567-A897-A91948100689}" destId="{3FEA1AF9-F513-4479-815D-EC815A868241}" srcOrd="4" destOrd="0" parTransId="{65734D09-C774-4BAA-BBC5-986943E995D1}" sibTransId="{F88DE803-C1FC-4AB1-95D1-F3402D29B974}"/>
    <dgm:cxn modelId="{35C782D9-824F-4ABB-8B62-77961E254253}" srcId="{337F96D3-F5FD-4567-A897-A91948100689}" destId="{6C235C0C-15B0-4C4A-B17D-54E26B4B8298}" srcOrd="0" destOrd="0" parTransId="{5DA97C8D-7526-4BE1-A9ED-C18973404B77}" sibTransId="{BE55482F-487F-4119-BA98-8FBBAE30361A}"/>
    <dgm:cxn modelId="{50F57B5F-F8EC-45EE-9473-3F4BAD353D77}" type="presOf" srcId="{B248E446-387A-42F4-9B83-D378700ECC38}" destId="{E7B4C407-35F2-450C-8A3B-A6D65C695141}" srcOrd="0" destOrd="1" presId="urn:microsoft.com/office/officeart/2005/8/layout/list1"/>
    <dgm:cxn modelId="{4703D946-50D5-4C2E-992E-4413759A20DF}" type="presOf" srcId="{F319731A-98A0-4D7D-BBE0-8318E390A5D9}" destId="{40688125-3DD6-41E9-9D51-95EFFBFDDCE4}" srcOrd="0" destOrd="3" presId="urn:microsoft.com/office/officeart/2005/8/layout/list1"/>
    <dgm:cxn modelId="{5211E866-65D0-454C-8AFE-F78C66A34D01}" srcId="{CE25253E-9082-4A00-9667-C950980A27F9}" destId="{56F34445-441B-4723-91F8-FF4ADB3DE5F5}" srcOrd="0" destOrd="0" parTransId="{9082D063-93B8-4446-B226-AEFA8E3E7D7D}" sibTransId="{43DE7D13-F0CB-48D3-A295-33ED481F2DC4}"/>
    <dgm:cxn modelId="{E071A23D-F5B6-4B7C-AB0F-355AAC42CDB6}" srcId="{B19615DC-063A-4F0B-90F4-8767DECA5B75}" destId="{F319731A-98A0-4D7D-BBE0-8318E390A5D9}" srcOrd="3" destOrd="0" parTransId="{09F1B4AD-B740-4B56-9DD0-DA180EAD7FB3}" sibTransId="{24A44401-3FF8-45A1-BDA2-941A86B0564A}"/>
    <dgm:cxn modelId="{19A87C98-BE65-426A-9089-3AD29726C895}" srcId="{B15CED0C-EC2B-43F6-82AA-37BE6E3AE639}" destId="{337F96D3-F5FD-4567-A897-A91948100689}" srcOrd="2" destOrd="0" parTransId="{4819AEF4-65E3-44AF-8C93-3A2E13C8186F}" sibTransId="{86D02962-F0E1-4EF9-A7A3-648A8431536C}"/>
    <dgm:cxn modelId="{14BF6201-E475-42A9-B918-994C58CCD309}" type="presOf" srcId="{3FEA1AF9-F513-4479-815D-EC815A868241}" destId="{E7B4C407-35F2-450C-8A3B-A6D65C695141}" srcOrd="0" destOrd="4" presId="urn:microsoft.com/office/officeart/2005/8/layout/list1"/>
    <dgm:cxn modelId="{7AA718B3-8489-4325-9FE9-8C943587150A}" srcId="{CE25253E-9082-4A00-9667-C950980A27F9}" destId="{26B62005-B9CC-442A-9D3E-4EEC477D134E}" srcOrd="1" destOrd="0" parTransId="{C2F8F56A-75A7-4B51-A21B-66C57B05962F}" sibTransId="{6513081E-7596-49C0-9E2F-2213972B885A}"/>
    <dgm:cxn modelId="{5424BD0E-8815-4DC1-972C-A8B41F3C0F7C}" type="presOf" srcId="{56F34445-441B-4723-91F8-FF4ADB3DE5F5}" destId="{1D24424F-2292-4730-A211-6C7998465EA0}" srcOrd="0" destOrd="0" presId="urn:microsoft.com/office/officeart/2005/8/layout/list1"/>
    <dgm:cxn modelId="{0A6CA861-00A4-4227-BC50-0AC91F33422A}" type="presOf" srcId="{B19615DC-063A-4F0B-90F4-8767DECA5B75}" destId="{6EBD9402-2369-4BA8-9267-89A96BAFF7A7}" srcOrd="0" destOrd="0" presId="urn:microsoft.com/office/officeart/2005/8/layout/list1"/>
    <dgm:cxn modelId="{11D6F455-63C3-409E-A7C3-6933B8AF9B2E}" srcId="{B19615DC-063A-4F0B-90F4-8767DECA5B75}" destId="{37748D2A-10E7-47E6-92A4-98F7B9024508}" srcOrd="1" destOrd="0" parTransId="{B13256C2-AE7F-47BB-BC59-97348F02D94B}" sibTransId="{918950C4-61CC-4D18-BF86-E61B4F187BED}"/>
    <dgm:cxn modelId="{210614B7-DF40-4031-ABE8-2B383CD1E376}" type="presOf" srcId="{FDDA268D-A945-4937-82FD-D26AACBC4891}" destId="{E7B4C407-35F2-450C-8A3B-A6D65C695141}" srcOrd="0" destOrd="5" presId="urn:microsoft.com/office/officeart/2005/8/layout/list1"/>
    <dgm:cxn modelId="{F0817C5F-AFD9-4C63-B74F-BD5C775CAAA4}" type="presOf" srcId="{337F96D3-F5FD-4567-A897-A91948100689}" destId="{1FD2C3E9-29D7-408C-ADFD-C3B3FA5C9351}" srcOrd="0" destOrd="0" presId="urn:microsoft.com/office/officeart/2005/8/layout/list1"/>
    <dgm:cxn modelId="{CFF876D0-EBDE-45B0-AE2E-C252F3A8B013}" type="presOf" srcId="{B19615DC-063A-4F0B-90F4-8767DECA5B75}" destId="{D11AC340-2703-44E4-BA74-B5CFCF879F28}" srcOrd="1" destOrd="0" presId="urn:microsoft.com/office/officeart/2005/8/layout/list1"/>
    <dgm:cxn modelId="{ED5B937B-BE51-4049-AFBB-FB4568A382E9}" type="presParOf" srcId="{4A2FB91E-D37E-4ADD-AEC9-042AC22B60CA}" destId="{1E14B92D-EE76-480F-94F1-63D8D72847C2}" srcOrd="0" destOrd="0" presId="urn:microsoft.com/office/officeart/2005/8/layout/list1"/>
    <dgm:cxn modelId="{74B4C265-A445-473B-86D8-5C08993F7C86}" type="presParOf" srcId="{1E14B92D-EE76-480F-94F1-63D8D72847C2}" destId="{C18EBB53-9F4B-424B-A9A9-B964ED013065}" srcOrd="0" destOrd="0" presId="urn:microsoft.com/office/officeart/2005/8/layout/list1"/>
    <dgm:cxn modelId="{738A6191-766E-4180-AA3B-4A89367F4726}" type="presParOf" srcId="{1E14B92D-EE76-480F-94F1-63D8D72847C2}" destId="{0F2B9E7E-BEC6-4406-8F75-00AF4A0BA79F}" srcOrd="1" destOrd="0" presId="urn:microsoft.com/office/officeart/2005/8/layout/list1"/>
    <dgm:cxn modelId="{E7530094-B620-4E3D-9B2A-A35BC3B2E52B}" type="presParOf" srcId="{4A2FB91E-D37E-4ADD-AEC9-042AC22B60CA}" destId="{F3519747-33D5-4B45-9F94-C57F11AF1BF2}" srcOrd="1" destOrd="0" presId="urn:microsoft.com/office/officeart/2005/8/layout/list1"/>
    <dgm:cxn modelId="{96989BCF-111E-4974-A8E4-D16A87BCC7B2}" type="presParOf" srcId="{4A2FB91E-D37E-4ADD-AEC9-042AC22B60CA}" destId="{1D24424F-2292-4730-A211-6C7998465EA0}" srcOrd="2" destOrd="0" presId="urn:microsoft.com/office/officeart/2005/8/layout/list1"/>
    <dgm:cxn modelId="{49B058AD-B713-4538-911C-BD5D529A7165}" type="presParOf" srcId="{4A2FB91E-D37E-4ADD-AEC9-042AC22B60CA}" destId="{8B60CCE2-5383-418C-8007-4CE5D18D9841}" srcOrd="3" destOrd="0" presId="urn:microsoft.com/office/officeart/2005/8/layout/list1"/>
    <dgm:cxn modelId="{292F1B12-CAE0-46C1-B209-C82ECCF2C34B}" type="presParOf" srcId="{4A2FB91E-D37E-4ADD-AEC9-042AC22B60CA}" destId="{D01ADD2E-F0A1-41D5-92FA-1799C323F652}" srcOrd="4" destOrd="0" presId="urn:microsoft.com/office/officeart/2005/8/layout/list1"/>
    <dgm:cxn modelId="{3848CD6F-C033-489A-AC93-05A61649DF2D}" type="presParOf" srcId="{D01ADD2E-F0A1-41D5-92FA-1799C323F652}" destId="{6EBD9402-2369-4BA8-9267-89A96BAFF7A7}" srcOrd="0" destOrd="0" presId="urn:microsoft.com/office/officeart/2005/8/layout/list1"/>
    <dgm:cxn modelId="{0CE06E80-945D-43E1-B7A1-76EC4DE78536}" type="presParOf" srcId="{D01ADD2E-F0A1-41D5-92FA-1799C323F652}" destId="{D11AC340-2703-44E4-BA74-B5CFCF879F28}" srcOrd="1" destOrd="0" presId="urn:microsoft.com/office/officeart/2005/8/layout/list1"/>
    <dgm:cxn modelId="{0D6E6734-FB3E-4A21-BB13-8AF03CC32791}" type="presParOf" srcId="{4A2FB91E-D37E-4ADD-AEC9-042AC22B60CA}" destId="{AD1519C7-06A7-4619-AAA9-60BC90363BCB}" srcOrd="5" destOrd="0" presId="urn:microsoft.com/office/officeart/2005/8/layout/list1"/>
    <dgm:cxn modelId="{C17E9112-BF40-4A75-AE15-C871C31BB2E9}" type="presParOf" srcId="{4A2FB91E-D37E-4ADD-AEC9-042AC22B60CA}" destId="{40688125-3DD6-41E9-9D51-95EFFBFDDCE4}" srcOrd="6" destOrd="0" presId="urn:microsoft.com/office/officeart/2005/8/layout/list1"/>
    <dgm:cxn modelId="{1A3C7272-E2DA-4EA2-99E6-B8756C5B8FE6}" type="presParOf" srcId="{4A2FB91E-D37E-4ADD-AEC9-042AC22B60CA}" destId="{3FE8DD55-AEC4-4151-9AAE-C07308FFA52F}" srcOrd="7" destOrd="0" presId="urn:microsoft.com/office/officeart/2005/8/layout/list1"/>
    <dgm:cxn modelId="{4C0D4A05-194B-44F4-A759-C76A2327E28D}" type="presParOf" srcId="{4A2FB91E-D37E-4ADD-AEC9-042AC22B60CA}" destId="{15A9B0A5-19B4-4D43-8D12-61FB43547643}" srcOrd="8" destOrd="0" presId="urn:microsoft.com/office/officeart/2005/8/layout/list1"/>
    <dgm:cxn modelId="{00DEE075-28CD-4C80-89A3-7BFE2C389C8A}" type="presParOf" srcId="{15A9B0A5-19B4-4D43-8D12-61FB43547643}" destId="{1FD2C3E9-29D7-408C-ADFD-C3B3FA5C9351}" srcOrd="0" destOrd="0" presId="urn:microsoft.com/office/officeart/2005/8/layout/list1"/>
    <dgm:cxn modelId="{63FAB217-34CC-4F2A-975A-C4273420A184}" type="presParOf" srcId="{15A9B0A5-19B4-4D43-8D12-61FB43547643}" destId="{436C9894-1D1D-442D-AF2F-284C139E3CAC}" srcOrd="1" destOrd="0" presId="urn:microsoft.com/office/officeart/2005/8/layout/list1"/>
    <dgm:cxn modelId="{EB06B239-C679-4CFF-AD44-57CF8DDBAA0D}" type="presParOf" srcId="{4A2FB91E-D37E-4ADD-AEC9-042AC22B60CA}" destId="{679FAD7D-7CB5-45FC-BF32-48241D736E65}" srcOrd="9" destOrd="0" presId="urn:microsoft.com/office/officeart/2005/8/layout/list1"/>
    <dgm:cxn modelId="{30FA2FB6-1EF2-4523-8E7E-17F5CE20C890}" type="presParOf" srcId="{4A2FB91E-D37E-4ADD-AEC9-042AC22B60CA}" destId="{E7B4C407-35F2-450C-8A3B-A6D65C695141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365FE89-1948-4B57-B2FB-D7FD44C884E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696AB12-AFC2-432D-88C5-51C68A1D2053}">
      <dgm:prSet phldrT="[Text]"/>
      <dgm:spPr/>
      <dgm:t>
        <a:bodyPr/>
        <a:lstStyle/>
        <a:p>
          <a:r>
            <a:rPr lang="en-US" altLang="zh-CN" dirty="0" smtClean="0"/>
            <a:t>Model performance</a:t>
          </a:r>
          <a:endParaRPr lang="zh-CN" altLang="en-US" dirty="0"/>
        </a:p>
      </dgm:t>
    </dgm:pt>
    <dgm:pt modelId="{3BD6C62C-6B03-445D-9120-AE182A0DF840}" type="parTrans" cxnId="{6F4F72E3-C957-4300-8EF0-A6F3A6C0A921}">
      <dgm:prSet/>
      <dgm:spPr/>
      <dgm:t>
        <a:bodyPr/>
        <a:lstStyle/>
        <a:p>
          <a:endParaRPr lang="zh-CN" altLang="en-US"/>
        </a:p>
      </dgm:t>
    </dgm:pt>
    <dgm:pt modelId="{863F0282-9C2B-446E-9727-AD28A80A3FF9}" type="sibTrans" cxnId="{6F4F72E3-C957-4300-8EF0-A6F3A6C0A921}">
      <dgm:prSet/>
      <dgm:spPr/>
      <dgm:t>
        <a:bodyPr/>
        <a:lstStyle/>
        <a:p>
          <a:endParaRPr lang="zh-CN" altLang="en-US"/>
        </a:p>
      </dgm:t>
    </dgm:pt>
    <dgm:pt modelId="{07FDD177-972C-442E-B048-36CE022D5F95}">
      <dgm:prSet phldrT="[Text]"/>
      <dgm:spPr/>
      <dgm:t>
        <a:bodyPr/>
        <a:lstStyle/>
        <a:p>
          <a:r>
            <a:rPr lang="en-US" altLang="zh-CN" dirty="0" smtClean="0"/>
            <a:t>Variable importance</a:t>
          </a:r>
          <a:endParaRPr lang="zh-CN" altLang="en-US" dirty="0"/>
        </a:p>
      </dgm:t>
    </dgm:pt>
    <dgm:pt modelId="{657D0437-F14C-4A6C-A8C7-AFDAC201A069}" type="parTrans" cxnId="{13A3CFFD-C430-40BA-AF45-412C9CF170FB}">
      <dgm:prSet/>
      <dgm:spPr/>
      <dgm:t>
        <a:bodyPr/>
        <a:lstStyle/>
        <a:p>
          <a:endParaRPr lang="zh-CN" altLang="en-US"/>
        </a:p>
      </dgm:t>
    </dgm:pt>
    <dgm:pt modelId="{E7C4F4B5-80BA-4CF9-A4F4-9AF6D9E16973}" type="sibTrans" cxnId="{13A3CFFD-C430-40BA-AF45-412C9CF170FB}">
      <dgm:prSet/>
      <dgm:spPr/>
      <dgm:t>
        <a:bodyPr/>
        <a:lstStyle/>
        <a:p>
          <a:endParaRPr lang="zh-CN" altLang="en-US"/>
        </a:p>
      </dgm:t>
    </dgm:pt>
    <dgm:pt modelId="{D1A28478-E471-4359-862A-A393C072B3BC}">
      <dgm:prSet phldrT="[Text]"/>
      <dgm:spPr/>
      <dgm:t>
        <a:bodyPr/>
        <a:lstStyle/>
        <a:p>
          <a:r>
            <a:rPr lang="en-US" altLang="zh-CN" dirty="0" smtClean="0"/>
            <a:t>Odds ratio for standard (unconstrained) logistic regression</a:t>
          </a:r>
          <a:endParaRPr lang="zh-CN" altLang="en-US" dirty="0"/>
        </a:p>
      </dgm:t>
    </dgm:pt>
    <dgm:pt modelId="{28795F1B-36E9-406F-AC78-A9702465EB9E}" type="parTrans" cxnId="{5FF991F1-199B-45C4-9C78-543F7A422795}">
      <dgm:prSet/>
      <dgm:spPr/>
      <dgm:t>
        <a:bodyPr/>
        <a:lstStyle/>
        <a:p>
          <a:endParaRPr lang="zh-CN" altLang="en-US"/>
        </a:p>
      </dgm:t>
    </dgm:pt>
    <dgm:pt modelId="{6CD1DCEA-0AAE-47F7-8699-9754F44982D8}" type="sibTrans" cxnId="{5FF991F1-199B-45C4-9C78-543F7A422795}">
      <dgm:prSet/>
      <dgm:spPr/>
      <dgm:t>
        <a:bodyPr/>
        <a:lstStyle/>
        <a:p>
          <a:endParaRPr lang="zh-CN" altLang="en-US"/>
        </a:p>
      </dgm:t>
    </dgm:pt>
    <dgm:pt modelId="{C4F8D5DC-9962-4708-ABFB-8303BFCB7EE0}">
      <dgm:prSet/>
      <dgm:spPr/>
      <dgm:t>
        <a:bodyPr/>
        <a:lstStyle/>
        <a:p>
          <a:r>
            <a:rPr lang="en-US" altLang="zh-CN" dirty="0" smtClean="0"/>
            <a:t>AUC</a:t>
          </a:r>
          <a:endParaRPr lang="zh-CN" altLang="en-US" dirty="0"/>
        </a:p>
      </dgm:t>
    </dgm:pt>
    <dgm:pt modelId="{4D80E569-B89C-44FF-9B35-87DB62363D41}" type="parTrans" cxnId="{F5582863-14CE-489E-A667-6A5F3BE3A163}">
      <dgm:prSet/>
      <dgm:spPr/>
      <dgm:t>
        <a:bodyPr/>
        <a:lstStyle/>
        <a:p>
          <a:endParaRPr lang="zh-CN" altLang="en-US"/>
        </a:p>
      </dgm:t>
    </dgm:pt>
    <dgm:pt modelId="{672FD3C4-DD49-42EA-A2EC-BEF6117BB467}" type="sibTrans" cxnId="{F5582863-14CE-489E-A667-6A5F3BE3A163}">
      <dgm:prSet/>
      <dgm:spPr/>
      <dgm:t>
        <a:bodyPr/>
        <a:lstStyle/>
        <a:p>
          <a:endParaRPr lang="zh-CN" altLang="en-US"/>
        </a:p>
      </dgm:t>
    </dgm:pt>
    <dgm:pt modelId="{29034BAA-BF53-4B4A-A4F7-765A12154BEC}">
      <dgm:prSet/>
      <dgm:spPr/>
      <dgm:t>
        <a:bodyPr/>
        <a:lstStyle/>
        <a:p>
          <a:r>
            <a:rPr lang="en-US" altLang="zh-CN" dirty="0" smtClean="0"/>
            <a:t>Corresponding confidence interval</a:t>
          </a:r>
          <a:endParaRPr lang="zh-CN" altLang="zh-CN" dirty="0"/>
        </a:p>
      </dgm:t>
    </dgm:pt>
    <dgm:pt modelId="{4D57F1FE-3F8B-4565-8FF9-5937C8D0F6B4}" type="parTrans" cxnId="{FAC0F7F1-8CAB-49CF-B465-C58E310A6A94}">
      <dgm:prSet/>
      <dgm:spPr/>
      <dgm:t>
        <a:bodyPr/>
        <a:lstStyle/>
        <a:p>
          <a:endParaRPr lang="zh-CN" altLang="en-US"/>
        </a:p>
      </dgm:t>
    </dgm:pt>
    <dgm:pt modelId="{45E0A0EC-366C-4374-BF3C-12A3FF8214C5}" type="sibTrans" cxnId="{FAC0F7F1-8CAB-49CF-B465-C58E310A6A94}">
      <dgm:prSet/>
      <dgm:spPr/>
      <dgm:t>
        <a:bodyPr/>
        <a:lstStyle/>
        <a:p>
          <a:endParaRPr lang="zh-CN" altLang="en-US"/>
        </a:p>
      </dgm:t>
    </dgm:pt>
    <dgm:pt modelId="{4FB0B2F6-961B-4B65-B482-508BA7E6BE1D}">
      <dgm:prSet/>
      <dgm:spPr/>
      <dgm:t>
        <a:bodyPr/>
        <a:lstStyle/>
        <a:p>
          <a:r>
            <a:rPr lang="en-US" altLang="zh-CN" dirty="0" smtClean="0"/>
            <a:t>Number of Times Variable Retained</a:t>
          </a:r>
          <a:endParaRPr lang="zh-CN" altLang="en-US" dirty="0"/>
        </a:p>
      </dgm:t>
    </dgm:pt>
    <dgm:pt modelId="{301171B0-40F9-429A-8EDB-AC4D6DCC3A54}" type="parTrans" cxnId="{54174018-E2CF-4A23-9C1F-FD9AC93D75D9}">
      <dgm:prSet/>
      <dgm:spPr/>
      <dgm:t>
        <a:bodyPr/>
        <a:lstStyle/>
        <a:p>
          <a:endParaRPr lang="zh-CN" altLang="en-US"/>
        </a:p>
      </dgm:t>
    </dgm:pt>
    <dgm:pt modelId="{02E5332A-1F0B-4D25-8C06-79167945F9A2}" type="sibTrans" cxnId="{54174018-E2CF-4A23-9C1F-FD9AC93D75D9}">
      <dgm:prSet/>
      <dgm:spPr/>
      <dgm:t>
        <a:bodyPr/>
        <a:lstStyle/>
        <a:p>
          <a:endParaRPr lang="zh-CN" altLang="en-US"/>
        </a:p>
      </dgm:t>
    </dgm:pt>
    <dgm:pt modelId="{F5B6F1D3-31E0-4C51-A650-0FF908A4FC34}">
      <dgm:prSet/>
      <dgm:spPr/>
      <dgm:t>
        <a:bodyPr/>
        <a:lstStyle/>
        <a:p>
          <a:r>
            <a:rPr lang="en-US" altLang="zh-CN" dirty="0" smtClean="0"/>
            <a:t>Average Coefficient</a:t>
          </a:r>
          <a:endParaRPr lang="zh-CN" altLang="zh-CN" dirty="0"/>
        </a:p>
      </dgm:t>
    </dgm:pt>
    <dgm:pt modelId="{C1BDE2D5-2C83-46E2-B4BE-018281945F7E}" type="parTrans" cxnId="{41A3A30D-D748-48D9-9DB2-2921D7384BEE}">
      <dgm:prSet/>
      <dgm:spPr/>
      <dgm:t>
        <a:bodyPr/>
        <a:lstStyle/>
        <a:p>
          <a:endParaRPr lang="zh-CN" altLang="en-US"/>
        </a:p>
      </dgm:t>
    </dgm:pt>
    <dgm:pt modelId="{F592EA18-5203-4E90-8E2A-445A944B060F}" type="sibTrans" cxnId="{41A3A30D-D748-48D9-9DB2-2921D7384BEE}">
      <dgm:prSet/>
      <dgm:spPr/>
      <dgm:t>
        <a:bodyPr/>
        <a:lstStyle/>
        <a:p>
          <a:endParaRPr lang="zh-CN" altLang="en-US"/>
        </a:p>
      </dgm:t>
    </dgm:pt>
    <dgm:pt modelId="{1919B4ED-8501-47B7-84AF-7804609EED07}">
      <dgm:prSet/>
      <dgm:spPr/>
      <dgm:t>
        <a:bodyPr/>
        <a:lstStyle/>
        <a:p>
          <a:r>
            <a:rPr lang="en-US" altLang="zh-CN" dirty="0" smtClean="0"/>
            <a:t>Average Odds Ratio</a:t>
          </a:r>
          <a:endParaRPr lang="zh-CN" altLang="zh-CN" dirty="0"/>
        </a:p>
      </dgm:t>
    </dgm:pt>
    <dgm:pt modelId="{D57A9F59-3186-4576-8B15-5E6B641560DE}" type="parTrans" cxnId="{E2A5E238-2418-4EDB-87A2-7B617516AC0E}">
      <dgm:prSet/>
      <dgm:spPr/>
      <dgm:t>
        <a:bodyPr/>
        <a:lstStyle/>
        <a:p>
          <a:endParaRPr lang="zh-CN" altLang="en-US"/>
        </a:p>
      </dgm:t>
    </dgm:pt>
    <dgm:pt modelId="{C931A940-9C92-44B1-BF46-0A684B6B4B4E}" type="sibTrans" cxnId="{E2A5E238-2418-4EDB-87A2-7B617516AC0E}">
      <dgm:prSet/>
      <dgm:spPr/>
      <dgm:t>
        <a:bodyPr/>
        <a:lstStyle/>
        <a:p>
          <a:endParaRPr lang="zh-CN" altLang="en-US"/>
        </a:p>
      </dgm:t>
    </dgm:pt>
    <dgm:pt modelId="{C3C76C02-BD5B-4B9E-8CA7-AB1DE794407C}">
      <dgm:prSet/>
      <dgm:spPr/>
      <dgm:t>
        <a:bodyPr/>
        <a:lstStyle/>
        <a:p>
          <a:r>
            <a:rPr lang="en-US" altLang="zh-CN" dirty="0" smtClean="0"/>
            <a:t>Odds ratio</a:t>
          </a:r>
          <a:endParaRPr lang="zh-CN" altLang="en-US" dirty="0"/>
        </a:p>
      </dgm:t>
    </dgm:pt>
    <dgm:pt modelId="{863B21D1-469C-4A29-B7BD-E00DB201A984}" type="parTrans" cxnId="{2E4CB56C-D52A-4C90-B5D8-A5D879905A3A}">
      <dgm:prSet/>
      <dgm:spPr/>
      <dgm:t>
        <a:bodyPr/>
        <a:lstStyle/>
        <a:p>
          <a:endParaRPr lang="zh-CN" altLang="en-US"/>
        </a:p>
      </dgm:t>
    </dgm:pt>
    <dgm:pt modelId="{5EB9A9D8-C775-4009-A872-85816F7CEE66}" type="sibTrans" cxnId="{2E4CB56C-D52A-4C90-B5D8-A5D879905A3A}">
      <dgm:prSet/>
      <dgm:spPr/>
      <dgm:t>
        <a:bodyPr/>
        <a:lstStyle/>
        <a:p>
          <a:endParaRPr lang="zh-CN" altLang="en-US"/>
        </a:p>
      </dgm:t>
    </dgm:pt>
    <dgm:pt modelId="{02CFD0DD-D6FA-448F-997C-1AE4408C1B71}">
      <dgm:prSet/>
      <dgm:spPr/>
      <dgm:t>
        <a:bodyPr/>
        <a:lstStyle/>
        <a:p>
          <a:r>
            <a:rPr lang="en-US" altLang="zh-CN" dirty="0" smtClean="0"/>
            <a:t>Corresponding confidence interval</a:t>
          </a:r>
          <a:endParaRPr lang="zh-CN" altLang="zh-CN" dirty="0"/>
        </a:p>
      </dgm:t>
    </dgm:pt>
    <dgm:pt modelId="{497DBE00-0237-41A8-94AD-7606A25AA37A}" type="parTrans" cxnId="{2B17ED8C-80E5-4350-828E-4262CD6AF095}">
      <dgm:prSet/>
      <dgm:spPr/>
      <dgm:t>
        <a:bodyPr/>
        <a:lstStyle/>
        <a:p>
          <a:endParaRPr lang="zh-CN" altLang="en-US"/>
        </a:p>
      </dgm:t>
    </dgm:pt>
    <dgm:pt modelId="{020697CE-7355-403A-AAEB-34BE587D89F9}" type="sibTrans" cxnId="{2B17ED8C-80E5-4350-828E-4262CD6AF095}">
      <dgm:prSet/>
      <dgm:spPr/>
      <dgm:t>
        <a:bodyPr/>
        <a:lstStyle/>
        <a:p>
          <a:endParaRPr lang="zh-CN" altLang="en-US"/>
        </a:p>
      </dgm:t>
    </dgm:pt>
    <dgm:pt modelId="{ECED62D0-3423-4696-A57F-6CA145D2C239}">
      <dgm:prSet/>
      <dgm:spPr/>
      <dgm:t>
        <a:bodyPr/>
        <a:lstStyle/>
        <a:p>
          <a:r>
            <a:rPr lang="en-US" altLang="zh-CN" dirty="0" smtClean="0"/>
            <a:t>P-value</a:t>
          </a:r>
          <a:endParaRPr lang="zh-CN" altLang="zh-CN" dirty="0"/>
        </a:p>
      </dgm:t>
    </dgm:pt>
    <dgm:pt modelId="{8DD4052B-F5C2-4F0E-B9D0-26291339D62A}" type="parTrans" cxnId="{C61660FF-6486-4ED1-9DDB-08F70FD4D44E}">
      <dgm:prSet/>
      <dgm:spPr/>
      <dgm:t>
        <a:bodyPr/>
        <a:lstStyle/>
        <a:p>
          <a:endParaRPr lang="zh-CN" altLang="en-US"/>
        </a:p>
      </dgm:t>
    </dgm:pt>
    <dgm:pt modelId="{F91DB5F4-6B41-43C0-A358-787A48D3543D}" type="sibTrans" cxnId="{C61660FF-6486-4ED1-9DDB-08F70FD4D44E}">
      <dgm:prSet/>
      <dgm:spPr/>
      <dgm:t>
        <a:bodyPr/>
        <a:lstStyle/>
        <a:p>
          <a:endParaRPr lang="zh-CN" altLang="en-US"/>
        </a:p>
      </dgm:t>
    </dgm:pt>
    <dgm:pt modelId="{5010F508-21AD-4CFC-8EA2-4D8558238D3F}">
      <dgm:prSet/>
      <dgm:spPr/>
      <dgm:t>
        <a:bodyPr/>
        <a:lstStyle/>
        <a:p>
          <a:r>
            <a:rPr lang="en-US" altLang="zh-CN" dirty="0" smtClean="0"/>
            <a:t>Based on most important ten variables</a:t>
          </a:r>
          <a:endParaRPr lang="zh-CN" altLang="en-US" dirty="0"/>
        </a:p>
      </dgm:t>
    </dgm:pt>
    <dgm:pt modelId="{13672333-EBDC-4F6C-B8F5-FEC619981096}" type="parTrans" cxnId="{6FC4FC04-55C7-4B56-A8BE-E4DA1DEB13AE}">
      <dgm:prSet/>
      <dgm:spPr/>
      <dgm:t>
        <a:bodyPr/>
        <a:lstStyle/>
        <a:p>
          <a:endParaRPr lang="zh-CN" altLang="en-US"/>
        </a:p>
      </dgm:t>
    </dgm:pt>
    <dgm:pt modelId="{3ADEECD9-9E18-416D-902C-EA221EE9897B}" type="sibTrans" cxnId="{6FC4FC04-55C7-4B56-A8BE-E4DA1DEB13AE}">
      <dgm:prSet/>
      <dgm:spPr/>
      <dgm:t>
        <a:bodyPr/>
        <a:lstStyle/>
        <a:p>
          <a:endParaRPr lang="zh-CN" altLang="en-US"/>
        </a:p>
      </dgm:t>
    </dgm:pt>
    <dgm:pt modelId="{EB706B73-0DF6-4A40-B60F-3ED132318F39}">
      <dgm:prSet/>
      <dgm:spPr/>
      <dgm:t>
        <a:bodyPr/>
        <a:lstStyle/>
        <a:p>
          <a:r>
            <a:rPr lang="en-US" altLang="zh-CN" dirty="0" smtClean="0"/>
            <a:t>Actual outcomes by quintile of predicted risk score</a:t>
          </a:r>
          <a:endParaRPr lang="zh-CN" altLang="en-US" dirty="0"/>
        </a:p>
      </dgm:t>
    </dgm:pt>
    <dgm:pt modelId="{DD31255D-C55F-4A6F-A35F-4A9C8C77AD55}" type="parTrans" cxnId="{C5D4098E-0F68-485A-9595-A1EBDFF307C4}">
      <dgm:prSet/>
      <dgm:spPr/>
      <dgm:t>
        <a:bodyPr/>
        <a:lstStyle/>
        <a:p>
          <a:endParaRPr lang="zh-CN" altLang="en-US"/>
        </a:p>
      </dgm:t>
    </dgm:pt>
    <dgm:pt modelId="{97B5F396-4F78-4BD9-9E14-D684B310C6D0}" type="sibTrans" cxnId="{C5D4098E-0F68-485A-9595-A1EBDFF307C4}">
      <dgm:prSet/>
      <dgm:spPr/>
      <dgm:t>
        <a:bodyPr/>
        <a:lstStyle/>
        <a:p>
          <a:endParaRPr lang="zh-CN" altLang="en-US"/>
        </a:p>
      </dgm:t>
    </dgm:pt>
    <dgm:pt modelId="{EA10E2B9-9268-4D7D-B043-EDEC5A76BE2E}">
      <dgm:prSet/>
      <dgm:spPr/>
      <dgm:t>
        <a:bodyPr/>
        <a:lstStyle/>
        <a:p>
          <a:r>
            <a:rPr lang="en-US" altLang="zh-CN" dirty="0" smtClean="0"/>
            <a:t>based on logistic regression with elastic-net for most important ten variables</a:t>
          </a:r>
          <a:endParaRPr lang="zh-CN" altLang="en-US" dirty="0"/>
        </a:p>
      </dgm:t>
    </dgm:pt>
    <dgm:pt modelId="{FC7C579C-93C2-48A1-974C-B778B7BC6D2F}" type="parTrans" cxnId="{EA502FE3-26C8-454E-9611-7A53AD7249BA}">
      <dgm:prSet/>
      <dgm:spPr/>
      <dgm:t>
        <a:bodyPr/>
        <a:lstStyle/>
        <a:p>
          <a:endParaRPr lang="zh-CN" altLang="en-US"/>
        </a:p>
      </dgm:t>
    </dgm:pt>
    <dgm:pt modelId="{D9339D69-447E-444F-BB98-C6452D62BD64}" type="sibTrans" cxnId="{EA502FE3-26C8-454E-9611-7A53AD7249BA}">
      <dgm:prSet/>
      <dgm:spPr/>
      <dgm:t>
        <a:bodyPr/>
        <a:lstStyle/>
        <a:p>
          <a:endParaRPr lang="zh-CN" altLang="en-US"/>
        </a:p>
      </dgm:t>
    </dgm:pt>
    <dgm:pt modelId="{1620C3F7-25B4-4DD8-9157-A58C07769AD0}">
      <dgm:prSet/>
      <dgm:spPr/>
      <dgm:t>
        <a:bodyPr/>
        <a:lstStyle/>
        <a:p>
          <a:r>
            <a:rPr lang="en-US" altLang="zh-CN" dirty="0" smtClean="0"/>
            <a:t>5 quintile Groups</a:t>
          </a:r>
          <a:endParaRPr lang="zh-CN" altLang="en-US" dirty="0"/>
        </a:p>
      </dgm:t>
    </dgm:pt>
    <dgm:pt modelId="{9BDA88CF-10B4-4423-98C3-A7C406B40F8C}" type="parTrans" cxnId="{C2C05E2B-457E-4AA1-B4E3-1513F7B2518F}">
      <dgm:prSet/>
      <dgm:spPr/>
      <dgm:t>
        <a:bodyPr/>
        <a:lstStyle/>
        <a:p>
          <a:endParaRPr lang="zh-CN" altLang="en-US"/>
        </a:p>
      </dgm:t>
    </dgm:pt>
    <dgm:pt modelId="{ACB12C4B-76F2-4780-B8F0-7900A713EDDC}" type="sibTrans" cxnId="{C2C05E2B-457E-4AA1-B4E3-1513F7B2518F}">
      <dgm:prSet/>
      <dgm:spPr/>
      <dgm:t>
        <a:bodyPr/>
        <a:lstStyle/>
        <a:p>
          <a:endParaRPr lang="zh-CN" altLang="en-US"/>
        </a:p>
      </dgm:t>
    </dgm:pt>
    <dgm:pt modelId="{807E85A3-CDBF-4163-B9C6-7BF050F35FDB}" type="pres">
      <dgm:prSet presAssocID="{3365FE89-1948-4B57-B2FB-D7FD44C884E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AA2B77D-5642-4178-9745-A6B2236EB015}" type="pres">
      <dgm:prSet presAssocID="{4696AB12-AFC2-432D-88C5-51C68A1D2053}" presName="parentLin" presStyleCnt="0"/>
      <dgm:spPr/>
    </dgm:pt>
    <dgm:pt modelId="{34CCE328-8196-44E4-9B39-B6024FE50578}" type="pres">
      <dgm:prSet presAssocID="{4696AB12-AFC2-432D-88C5-51C68A1D2053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CAA85484-3436-40E4-8BD6-8D2F5276B7EC}" type="pres">
      <dgm:prSet presAssocID="{4696AB12-AFC2-432D-88C5-51C68A1D2053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3B01FE1-E315-4723-86DC-63ADB5D32D90}" type="pres">
      <dgm:prSet presAssocID="{4696AB12-AFC2-432D-88C5-51C68A1D2053}" presName="negativeSpace" presStyleCnt="0"/>
      <dgm:spPr/>
    </dgm:pt>
    <dgm:pt modelId="{429932EF-5E74-4540-9929-71922929D28C}" type="pres">
      <dgm:prSet presAssocID="{4696AB12-AFC2-432D-88C5-51C68A1D2053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B39895-6BF3-46EB-AA59-31FB65100484}" type="pres">
      <dgm:prSet presAssocID="{863F0282-9C2B-446E-9727-AD28A80A3FF9}" presName="spaceBetweenRectangles" presStyleCnt="0"/>
      <dgm:spPr/>
    </dgm:pt>
    <dgm:pt modelId="{3AD438C3-2350-48F7-B6EC-74481E76C51E}" type="pres">
      <dgm:prSet presAssocID="{07FDD177-972C-442E-B048-36CE022D5F95}" presName="parentLin" presStyleCnt="0"/>
      <dgm:spPr/>
    </dgm:pt>
    <dgm:pt modelId="{A3086CDE-FAF3-4B52-9244-BCBB2811FD40}" type="pres">
      <dgm:prSet presAssocID="{07FDD177-972C-442E-B048-36CE022D5F95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05AD3A1A-7E8A-4B9E-9A2E-D432BB19100F}" type="pres">
      <dgm:prSet presAssocID="{07FDD177-972C-442E-B048-36CE022D5F95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F01054E-DA6C-460D-A5C2-84C2DB67869A}" type="pres">
      <dgm:prSet presAssocID="{07FDD177-972C-442E-B048-36CE022D5F95}" presName="negativeSpace" presStyleCnt="0"/>
      <dgm:spPr/>
    </dgm:pt>
    <dgm:pt modelId="{A4C442CB-EF4E-4045-9FD8-ABBBE11EB561}" type="pres">
      <dgm:prSet presAssocID="{07FDD177-972C-442E-B048-36CE022D5F95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BB7417F-B279-4EF8-B493-03FD567EE298}" type="pres">
      <dgm:prSet presAssocID="{E7C4F4B5-80BA-4CF9-A4F4-9AF6D9E16973}" presName="spaceBetweenRectangles" presStyleCnt="0"/>
      <dgm:spPr/>
    </dgm:pt>
    <dgm:pt modelId="{A28D72B1-B0A6-4FCB-B63D-26B6A7FEB9B8}" type="pres">
      <dgm:prSet presAssocID="{D1A28478-E471-4359-862A-A393C072B3BC}" presName="parentLin" presStyleCnt="0"/>
      <dgm:spPr/>
    </dgm:pt>
    <dgm:pt modelId="{10FAEAE4-421D-4091-8DDF-336E0D22E0BC}" type="pres">
      <dgm:prSet presAssocID="{D1A28478-E471-4359-862A-A393C072B3BC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850EB3EE-E576-4C28-BDF3-CDCED8A0D898}" type="pres">
      <dgm:prSet presAssocID="{D1A28478-E471-4359-862A-A393C072B3BC}" presName="parentText" presStyleLbl="node1" presStyleIdx="2" presStyleCnt="4" custScaleX="136869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0D6FB8F-000A-45EA-B481-5DA255C425DF}" type="pres">
      <dgm:prSet presAssocID="{D1A28478-E471-4359-862A-A393C072B3BC}" presName="negativeSpace" presStyleCnt="0"/>
      <dgm:spPr/>
    </dgm:pt>
    <dgm:pt modelId="{26FB2A13-0D8C-4E78-862E-0D3B3B7C6B9D}" type="pres">
      <dgm:prSet presAssocID="{D1A28478-E471-4359-862A-A393C072B3BC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34E0C5B-E127-4C4A-832B-348D30CFC318}" type="pres">
      <dgm:prSet presAssocID="{6CD1DCEA-0AAE-47F7-8699-9754F44982D8}" presName="spaceBetweenRectangles" presStyleCnt="0"/>
      <dgm:spPr/>
    </dgm:pt>
    <dgm:pt modelId="{F79D9C17-CD30-4599-AA34-07382CF42BE4}" type="pres">
      <dgm:prSet presAssocID="{EB706B73-0DF6-4A40-B60F-3ED132318F39}" presName="parentLin" presStyleCnt="0"/>
      <dgm:spPr/>
    </dgm:pt>
    <dgm:pt modelId="{570F2305-BCEF-40B3-9CAC-AE3D27ED612E}" type="pres">
      <dgm:prSet presAssocID="{EB706B73-0DF6-4A40-B60F-3ED132318F39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681D9487-219F-4C83-B387-ECF91002042F}" type="pres">
      <dgm:prSet presAssocID="{EB706B73-0DF6-4A40-B60F-3ED132318F39}" presName="parentText" presStyleLbl="node1" presStyleIdx="3" presStyleCnt="4" custScaleX="118907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D932AB-479F-4B44-8C79-5F1D6F33B554}" type="pres">
      <dgm:prSet presAssocID="{EB706B73-0DF6-4A40-B60F-3ED132318F39}" presName="negativeSpace" presStyleCnt="0"/>
      <dgm:spPr/>
    </dgm:pt>
    <dgm:pt modelId="{3AFFA76C-CA9F-4758-8806-55318BD6031E}" type="pres">
      <dgm:prSet presAssocID="{EB706B73-0DF6-4A40-B60F-3ED132318F39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F9A37CD-82DB-4AE3-AD91-374328E292B6}" type="presOf" srcId="{07FDD177-972C-442E-B048-36CE022D5F95}" destId="{05AD3A1A-7E8A-4B9E-9A2E-D432BB19100F}" srcOrd="1" destOrd="0" presId="urn:microsoft.com/office/officeart/2005/8/layout/list1"/>
    <dgm:cxn modelId="{AEA6D923-D071-47F3-8404-3B719DE6CDE0}" type="presOf" srcId="{D1A28478-E471-4359-862A-A393C072B3BC}" destId="{10FAEAE4-421D-4091-8DDF-336E0D22E0BC}" srcOrd="0" destOrd="0" presId="urn:microsoft.com/office/officeart/2005/8/layout/list1"/>
    <dgm:cxn modelId="{7AF1B601-71B0-4C27-8DDA-FC3CCEF535FF}" type="presOf" srcId="{5010F508-21AD-4CFC-8EA2-4D8558238D3F}" destId="{26FB2A13-0D8C-4E78-862E-0D3B3B7C6B9D}" srcOrd="0" destOrd="0" presId="urn:microsoft.com/office/officeart/2005/8/layout/list1"/>
    <dgm:cxn modelId="{D9C23498-40EC-4502-A162-3B7773CCFCDF}" type="presOf" srcId="{02CFD0DD-D6FA-448F-997C-1AE4408C1B71}" destId="{26FB2A13-0D8C-4E78-862E-0D3B3B7C6B9D}" srcOrd="0" destOrd="2" presId="urn:microsoft.com/office/officeart/2005/8/layout/list1"/>
    <dgm:cxn modelId="{B0BCFD9A-0B81-490C-90F3-7274BD71DD97}" type="presOf" srcId="{4696AB12-AFC2-432D-88C5-51C68A1D2053}" destId="{CAA85484-3436-40E4-8BD6-8D2F5276B7EC}" srcOrd="1" destOrd="0" presId="urn:microsoft.com/office/officeart/2005/8/layout/list1"/>
    <dgm:cxn modelId="{C2C05E2B-457E-4AA1-B4E3-1513F7B2518F}" srcId="{EB706B73-0DF6-4A40-B60F-3ED132318F39}" destId="{1620C3F7-25B4-4DD8-9157-A58C07769AD0}" srcOrd="1" destOrd="0" parTransId="{9BDA88CF-10B4-4423-98C3-A7C406B40F8C}" sibTransId="{ACB12C4B-76F2-4780-B8F0-7900A713EDDC}"/>
    <dgm:cxn modelId="{EA502FE3-26C8-454E-9611-7A53AD7249BA}" srcId="{EB706B73-0DF6-4A40-B60F-3ED132318F39}" destId="{EA10E2B9-9268-4D7D-B043-EDEC5A76BE2E}" srcOrd="0" destOrd="0" parTransId="{FC7C579C-93C2-48A1-974C-B778B7BC6D2F}" sibTransId="{D9339D69-447E-444F-BB98-C6452D62BD64}"/>
    <dgm:cxn modelId="{C716C4D5-506A-4101-9AC4-C106686CB8EB}" type="presOf" srcId="{29034BAA-BF53-4B4A-A4F7-765A12154BEC}" destId="{429932EF-5E74-4540-9929-71922929D28C}" srcOrd="0" destOrd="1" presId="urn:microsoft.com/office/officeart/2005/8/layout/list1"/>
    <dgm:cxn modelId="{3E0A82AC-483C-4692-A713-E7B9D538682A}" type="presOf" srcId="{F5B6F1D3-31E0-4C51-A650-0FF908A4FC34}" destId="{A4C442CB-EF4E-4045-9FD8-ABBBE11EB561}" srcOrd="0" destOrd="1" presId="urn:microsoft.com/office/officeart/2005/8/layout/list1"/>
    <dgm:cxn modelId="{E2A5E238-2418-4EDB-87A2-7B617516AC0E}" srcId="{07FDD177-972C-442E-B048-36CE022D5F95}" destId="{1919B4ED-8501-47B7-84AF-7804609EED07}" srcOrd="2" destOrd="0" parTransId="{D57A9F59-3186-4576-8B15-5E6B641560DE}" sibTransId="{C931A940-9C92-44B1-BF46-0A684B6B4B4E}"/>
    <dgm:cxn modelId="{6F4F72E3-C957-4300-8EF0-A6F3A6C0A921}" srcId="{3365FE89-1948-4B57-B2FB-D7FD44C884EE}" destId="{4696AB12-AFC2-432D-88C5-51C68A1D2053}" srcOrd="0" destOrd="0" parTransId="{3BD6C62C-6B03-445D-9120-AE182A0DF840}" sibTransId="{863F0282-9C2B-446E-9727-AD28A80A3FF9}"/>
    <dgm:cxn modelId="{950C54E1-9115-412F-A518-21B6475AA1C0}" type="presOf" srcId="{ECED62D0-3423-4696-A57F-6CA145D2C239}" destId="{26FB2A13-0D8C-4E78-862E-0D3B3B7C6B9D}" srcOrd="0" destOrd="3" presId="urn:microsoft.com/office/officeart/2005/8/layout/list1"/>
    <dgm:cxn modelId="{616D0FA9-3A42-4C7B-8297-37861F72439E}" type="presOf" srcId="{C4F8D5DC-9962-4708-ABFB-8303BFCB7EE0}" destId="{429932EF-5E74-4540-9929-71922929D28C}" srcOrd="0" destOrd="0" presId="urn:microsoft.com/office/officeart/2005/8/layout/list1"/>
    <dgm:cxn modelId="{FAC0F7F1-8CAB-49CF-B465-C58E310A6A94}" srcId="{4696AB12-AFC2-432D-88C5-51C68A1D2053}" destId="{29034BAA-BF53-4B4A-A4F7-765A12154BEC}" srcOrd="1" destOrd="0" parTransId="{4D57F1FE-3F8B-4565-8FF9-5937C8D0F6B4}" sibTransId="{45E0A0EC-366C-4374-BF3C-12A3FF8214C5}"/>
    <dgm:cxn modelId="{5FF991F1-199B-45C4-9C78-543F7A422795}" srcId="{3365FE89-1948-4B57-B2FB-D7FD44C884EE}" destId="{D1A28478-E471-4359-862A-A393C072B3BC}" srcOrd="2" destOrd="0" parTransId="{28795F1B-36E9-406F-AC78-A9702465EB9E}" sibTransId="{6CD1DCEA-0AAE-47F7-8699-9754F44982D8}"/>
    <dgm:cxn modelId="{C5D4098E-0F68-485A-9595-A1EBDFF307C4}" srcId="{3365FE89-1948-4B57-B2FB-D7FD44C884EE}" destId="{EB706B73-0DF6-4A40-B60F-3ED132318F39}" srcOrd="3" destOrd="0" parTransId="{DD31255D-C55F-4A6F-A35F-4A9C8C77AD55}" sibTransId="{97B5F396-4F78-4BD9-9E14-D684B310C6D0}"/>
    <dgm:cxn modelId="{13A3CFFD-C430-40BA-AF45-412C9CF170FB}" srcId="{3365FE89-1948-4B57-B2FB-D7FD44C884EE}" destId="{07FDD177-972C-442E-B048-36CE022D5F95}" srcOrd="1" destOrd="0" parTransId="{657D0437-F14C-4A6C-A8C7-AFDAC201A069}" sibTransId="{E7C4F4B5-80BA-4CF9-A4F4-9AF6D9E16973}"/>
    <dgm:cxn modelId="{7D99326B-1AA3-4C13-8F2E-A335589EC8E6}" type="presOf" srcId="{C3C76C02-BD5B-4B9E-8CA7-AB1DE794407C}" destId="{26FB2A13-0D8C-4E78-862E-0D3B3B7C6B9D}" srcOrd="0" destOrd="1" presId="urn:microsoft.com/office/officeart/2005/8/layout/list1"/>
    <dgm:cxn modelId="{7B5C3235-0641-4586-8201-2CABDD99D3AC}" type="presOf" srcId="{1620C3F7-25B4-4DD8-9157-A58C07769AD0}" destId="{3AFFA76C-CA9F-4758-8806-55318BD6031E}" srcOrd="0" destOrd="1" presId="urn:microsoft.com/office/officeart/2005/8/layout/list1"/>
    <dgm:cxn modelId="{C61660FF-6486-4ED1-9DDB-08F70FD4D44E}" srcId="{D1A28478-E471-4359-862A-A393C072B3BC}" destId="{ECED62D0-3423-4696-A57F-6CA145D2C239}" srcOrd="3" destOrd="0" parTransId="{8DD4052B-F5C2-4F0E-B9D0-26291339D62A}" sibTransId="{F91DB5F4-6B41-43C0-A358-787A48D3543D}"/>
    <dgm:cxn modelId="{7E0129BA-76A8-4274-B9C2-FA958F27F8B6}" type="presOf" srcId="{D1A28478-E471-4359-862A-A393C072B3BC}" destId="{850EB3EE-E576-4C28-BDF3-CDCED8A0D898}" srcOrd="1" destOrd="0" presId="urn:microsoft.com/office/officeart/2005/8/layout/list1"/>
    <dgm:cxn modelId="{FC0378C5-D768-493E-B2F3-E87DC4F65B21}" type="presOf" srcId="{EA10E2B9-9268-4D7D-B043-EDEC5A76BE2E}" destId="{3AFFA76C-CA9F-4758-8806-55318BD6031E}" srcOrd="0" destOrd="0" presId="urn:microsoft.com/office/officeart/2005/8/layout/list1"/>
    <dgm:cxn modelId="{DA4108C5-D30F-41BD-A2ED-AB434051D5B9}" type="presOf" srcId="{4FB0B2F6-961B-4B65-B482-508BA7E6BE1D}" destId="{A4C442CB-EF4E-4045-9FD8-ABBBE11EB561}" srcOrd="0" destOrd="0" presId="urn:microsoft.com/office/officeart/2005/8/layout/list1"/>
    <dgm:cxn modelId="{F5582863-14CE-489E-A667-6A5F3BE3A163}" srcId="{4696AB12-AFC2-432D-88C5-51C68A1D2053}" destId="{C4F8D5DC-9962-4708-ABFB-8303BFCB7EE0}" srcOrd="0" destOrd="0" parTransId="{4D80E569-B89C-44FF-9B35-87DB62363D41}" sibTransId="{672FD3C4-DD49-42EA-A2EC-BEF6117BB467}"/>
    <dgm:cxn modelId="{2B17ED8C-80E5-4350-828E-4262CD6AF095}" srcId="{D1A28478-E471-4359-862A-A393C072B3BC}" destId="{02CFD0DD-D6FA-448F-997C-1AE4408C1B71}" srcOrd="2" destOrd="0" parTransId="{497DBE00-0237-41A8-94AD-7606A25AA37A}" sibTransId="{020697CE-7355-403A-AAEB-34BE587D89F9}"/>
    <dgm:cxn modelId="{6FC4FC04-55C7-4B56-A8BE-E4DA1DEB13AE}" srcId="{D1A28478-E471-4359-862A-A393C072B3BC}" destId="{5010F508-21AD-4CFC-8EA2-4D8558238D3F}" srcOrd="0" destOrd="0" parTransId="{13672333-EBDC-4F6C-B8F5-FEC619981096}" sibTransId="{3ADEECD9-9E18-416D-902C-EA221EE9897B}"/>
    <dgm:cxn modelId="{8F5F6720-E57C-4E1D-8A44-E7C1A135AD34}" type="presOf" srcId="{3365FE89-1948-4B57-B2FB-D7FD44C884EE}" destId="{807E85A3-CDBF-4163-B9C6-7BF050F35FDB}" srcOrd="0" destOrd="0" presId="urn:microsoft.com/office/officeart/2005/8/layout/list1"/>
    <dgm:cxn modelId="{54174018-E2CF-4A23-9C1F-FD9AC93D75D9}" srcId="{07FDD177-972C-442E-B048-36CE022D5F95}" destId="{4FB0B2F6-961B-4B65-B482-508BA7E6BE1D}" srcOrd="0" destOrd="0" parTransId="{301171B0-40F9-429A-8EDB-AC4D6DCC3A54}" sibTransId="{02E5332A-1F0B-4D25-8C06-79167945F9A2}"/>
    <dgm:cxn modelId="{0AA941D9-0A13-4FAD-B315-682930C26EAA}" type="presOf" srcId="{1919B4ED-8501-47B7-84AF-7804609EED07}" destId="{A4C442CB-EF4E-4045-9FD8-ABBBE11EB561}" srcOrd="0" destOrd="2" presId="urn:microsoft.com/office/officeart/2005/8/layout/list1"/>
    <dgm:cxn modelId="{D9C50059-E8F6-4C50-901E-DA4D302040E8}" type="presOf" srcId="{EB706B73-0DF6-4A40-B60F-3ED132318F39}" destId="{681D9487-219F-4C83-B387-ECF91002042F}" srcOrd="1" destOrd="0" presId="urn:microsoft.com/office/officeart/2005/8/layout/list1"/>
    <dgm:cxn modelId="{C165E5A1-2A32-49F3-B96C-51BAE15CFD58}" type="presOf" srcId="{07FDD177-972C-442E-B048-36CE022D5F95}" destId="{A3086CDE-FAF3-4B52-9244-BCBB2811FD40}" srcOrd="0" destOrd="0" presId="urn:microsoft.com/office/officeart/2005/8/layout/list1"/>
    <dgm:cxn modelId="{41A3A30D-D748-48D9-9DB2-2921D7384BEE}" srcId="{07FDD177-972C-442E-B048-36CE022D5F95}" destId="{F5B6F1D3-31E0-4C51-A650-0FF908A4FC34}" srcOrd="1" destOrd="0" parTransId="{C1BDE2D5-2C83-46E2-B4BE-018281945F7E}" sibTransId="{F592EA18-5203-4E90-8E2A-445A944B060F}"/>
    <dgm:cxn modelId="{A2135E83-EB61-41EF-83A6-EE7EFA126D7A}" type="presOf" srcId="{EB706B73-0DF6-4A40-B60F-3ED132318F39}" destId="{570F2305-BCEF-40B3-9CAC-AE3D27ED612E}" srcOrd="0" destOrd="0" presId="urn:microsoft.com/office/officeart/2005/8/layout/list1"/>
    <dgm:cxn modelId="{2E4CB56C-D52A-4C90-B5D8-A5D879905A3A}" srcId="{D1A28478-E471-4359-862A-A393C072B3BC}" destId="{C3C76C02-BD5B-4B9E-8CA7-AB1DE794407C}" srcOrd="1" destOrd="0" parTransId="{863B21D1-469C-4A29-B7BD-E00DB201A984}" sibTransId="{5EB9A9D8-C775-4009-A872-85816F7CEE66}"/>
    <dgm:cxn modelId="{C5711F69-DF16-4267-AE45-C0ED837976D1}" type="presOf" srcId="{4696AB12-AFC2-432D-88C5-51C68A1D2053}" destId="{34CCE328-8196-44E4-9B39-B6024FE50578}" srcOrd="0" destOrd="0" presId="urn:microsoft.com/office/officeart/2005/8/layout/list1"/>
    <dgm:cxn modelId="{54937282-60ED-47CE-9B86-26F964A56548}" type="presParOf" srcId="{807E85A3-CDBF-4163-B9C6-7BF050F35FDB}" destId="{CAA2B77D-5642-4178-9745-A6B2236EB015}" srcOrd="0" destOrd="0" presId="urn:microsoft.com/office/officeart/2005/8/layout/list1"/>
    <dgm:cxn modelId="{362867C2-3505-460F-BB81-E7CD20500AC1}" type="presParOf" srcId="{CAA2B77D-5642-4178-9745-A6B2236EB015}" destId="{34CCE328-8196-44E4-9B39-B6024FE50578}" srcOrd="0" destOrd="0" presId="urn:microsoft.com/office/officeart/2005/8/layout/list1"/>
    <dgm:cxn modelId="{1D3E1B2E-6C90-4C6A-AB16-0D408745AA22}" type="presParOf" srcId="{CAA2B77D-5642-4178-9745-A6B2236EB015}" destId="{CAA85484-3436-40E4-8BD6-8D2F5276B7EC}" srcOrd="1" destOrd="0" presId="urn:microsoft.com/office/officeart/2005/8/layout/list1"/>
    <dgm:cxn modelId="{63459B74-00CF-4772-95E5-B858DCA0EC0E}" type="presParOf" srcId="{807E85A3-CDBF-4163-B9C6-7BF050F35FDB}" destId="{D3B01FE1-E315-4723-86DC-63ADB5D32D90}" srcOrd="1" destOrd="0" presId="urn:microsoft.com/office/officeart/2005/8/layout/list1"/>
    <dgm:cxn modelId="{0E08702A-4DBC-4CB4-8E01-DA2D4FDA674B}" type="presParOf" srcId="{807E85A3-CDBF-4163-B9C6-7BF050F35FDB}" destId="{429932EF-5E74-4540-9929-71922929D28C}" srcOrd="2" destOrd="0" presId="urn:microsoft.com/office/officeart/2005/8/layout/list1"/>
    <dgm:cxn modelId="{72DAB80E-1577-447A-AFAB-ED560C171C60}" type="presParOf" srcId="{807E85A3-CDBF-4163-B9C6-7BF050F35FDB}" destId="{1BB39895-6BF3-46EB-AA59-31FB65100484}" srcOrd="3" destOrd="0" presId="urn:microsoft.com/office/officeart/2005/8/layout/list1"/>
    <dgm:cxn modelId="{CC77A719-9D74-4DCE-A988-E23E4CCDE3DF}" type="presParOf" srcId="{807E85A3-CDBF-4163-B9C6-7BF050F35FDB}" destId="{3AD438C3-2350-48F7-B6EC-74481E76C51E}" srcOrd="4" destOrd="0" presId="urn:microsoft.com/office/officeart/2005/8/layout/list1"/>
    <dgm:cxn modelId="{CCFD6BC2-985D-4C9D-9C6C-94169920485B}" type="presParOf" srcId="{3AD438C3-2350-48F7-B6EC-74481E76C51E}" destId="{A3086CDE-FAF3-4B52-9244-BCBB2811FD40}" srcOrd="0" destOrd="0" presId="urn:microsoft.com/office/officeart/2005/8/layout/list1"/>
    <dgm:cxn modelId="{98DEDB64-CA86-4E66-B114-9A926BAA6574}" type="presParOf" srcId="{3AD438C3-2350-48F7-B6EC-74481E76C51E}" destId="{05AD3A1A-7E8A-4B9E-9A2E-D432BB19100F}" srcOrd="1" destOrd="0" presId="urn:microsoft.com/office/officeart/2005/8/layout/list1"/>
    <dgm:cxn modelId="{C0B26E86-79E4-48A8-9A9C-D9F525569B8C}" type="presParOf" srcId="{807E85A3-CDBF-4163-B9C6-7BF050F35FDB}" destId="{BF01054E-DA6C-460D-A5C2-84C2DB67869A}" srcOrd="5" destOrd="0" presId="urn:microsoft.com/office/officeart/2005/8/layout/list1"/>
    <dgm:cxn modelId="{2281ADCC-6EF6-4816-9CB9-546502909FD2}" type="presParOf" srcId="{807E85A3-CDBF-4163-B9C6-7BF050F35FDB}" destId="{A4C442CB-EF4E-4045-9FD8-ABBBE11EB561}" srcOrd="6" destOrd="0" presId="urn:microsoft.com/office/officeart/2005/8/layout/list1"/>
    <dgm:cxn modelId="{A1E33975-4A7C-4940-85BE-C6EB994BCB7A}" type="presParOf" srcId="{807E85A3-CDBF-4163-B9C6-7BF050F35FDB}" destId="{5BB7417F-B279-4EF8-B493-03FD567EE298}" srcOrd="7" destOrd="0" presId="urn:microsoft.com/office/officeart/2005/8/layout/list1"/>
    <dgm:cxn modelId="{E5059C2B-34FC-4D00-B8D1-44A9D2D24BAA}" type="presParOf" srcId="{807E85A3-CDBF-4163-B9C6-7BF050F35FDB}" destId="{A28D72B1-B0A6-4FCB-B63D-26B6A7FEB9B8}" srcOrd="8" destOrd="0" presId="urn:microsoft.com/office/officeart/2005/8/layout/list1"/>
    <dgm:cxn modelId="{C29C5819-EF96-45B0-A542-9992510C8189}" type="presParOf" srcId="{A28D72B1-B0A6-4FCB-B63D-26B6A7FEB9B8}" destId="{10FAEAE4-421D-4091-8DDF-336E0D22E0BC}" srcOrd="0" destOrd="0" presId="urn:microsoft.com/office/officeart/2005/8/layout/list1"/>
    <dgm:cxn modelId="{4C0E2B08-D662-4997-ADB9-4B9548C16E08}" type="presParOf" srcId="{A28D72B1-B0A6-4FCB-B63D-26B6A7FEB9B8}" destId="{850EB3EE-E576-4C28-BDF3-CDCED8A0D898}" srcOrd="1" destOrd="0" presId="urn:microsoft.com/office/officeart/2005/8/layout/list1"/>
    <dgm:cxn modelId="{AF661E08-A3EE-4C96-89F7-05BD02BC2581}" type="presParOf" srcId="{807E85A3-CDBF-4163-B9C6-7BF050F35FDB}" destId="{60D6FB8F-000A-45EA-B481-5DA255C425DF}" srcOrd="9" destOrd="0" presId="urn:microsoft.com/office/officeart/2005/8/layout/list1"/>
    <dgm:cxn modelId="{8E99E04C-1B60-4D2E-820C-4AAB309F6CC3}" type="presParOf" srcId="{807E85A3-CDBF-4163-B9C6-7BF050F35FDB}" destId="{26FB2A13-0D8C-4E78-862E-0D3B3B7C6B9D}" srcOrd="10" destOrd="0" presId="urn:microsoft.com/office/officeart/2005/8/layout/list1"/>
    <dgm:cxn modelId="{634FC10F-F4CA-4B66-9841-8083F2F36E23}" type="presParOf" srcId="{807E85A3-CDBF-4163-B9C6-7BF050F35FDB}" destId="{B34E0C5B-E127-4C4A-832B-348D30CFC318}" srcOrd="11" destOrd="0" presId="urn:microsoft.com/office/officeart/2005/8/layout/list1"/>
    <dgm:cxn modelId="{2AD828FA-7501-40B9-BF8B-84FF46D3D28E}" type="presParOf" srcId="{807E85A3-CDBF-4163-B9C6-7BF050F35FDB}" destId="{F79D9C17-CD30-4599-AA34-07382CF42BE4}" srcOrd="12" destOrd="0" presId="urn:microsoft.com/office/officeart/2005/8/layout/list1"/>
    <dgm:cxn modelId="{2C564CBC-C4D0-42C8-97C1-B22EC7E51556}" type="presParOf" srcId="{F79D9C17-CD30-4599-AA34-07382CF42BE4}" destId="{570F2305-BCEF-40B3-9CAC-AE3D27ED612E}" srcOrd="0" destOrd="0" presId="urn:microsoft.com/office/officeart/2005/8/layout/list1"/>
    <dgm:cxn modelId="{4903CB82-D109-4CCB-967E-82BAFCF55007}" type="presParOf" srcId="{F79D9C17-CD30-4599-AA34-07382CF42BE4}" destId="{681D9487-219F-4C83-B387-ECF91002042F}" srcOrd="1" destOrd="0" presId="urn:microsoft.com/office/officeart/2005/8/layout/list1"/>
    <dgm:cxn modelId="{2CD765DD-3314-4987-AA99-930FD5285AD4}" type="presParOf" srcId="{807E85A3-CDBF-4163-B9C6-7BF050F35FDB}" destId="{C9D932AB-479F-4B44-8C79-5F1D6F33B554}" srcOrd="13" destOrd="0" presId="urn:microsoft.com/office/officeart/2005/8/layout/list1"/>
    <dgm:cxn modelId="{FEF94CE9-0C94-4A40-ADD7-7B2D641B845B}" type="presParOf" srcId="{807E85A3-CDBF-4163-B9C6-7BF050F35FDB}" destId="{3AFFA76C-CA9F-4758-8806-55318BD6031E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C50C8E9-CB4F-4696-89D5-988E05D5E20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8FB634A-4AF3-4CC0-87AE-B22798C28C2E}">
      <dgm:prSet phldrT="[Text]"/>
      <dgm:spPr/>
      <dgm:t>
        <a:bodyPr/>
        <a:lstStyle/>
        <a:p>
          <a:r>
            <a:rPr lang="en-US" altLang="zh-CN" dirty="0" smtClean="0"/>
            <a:t>Use random forest/SVM</a:t>
          </a:r>
          <a:endParaRPr lang="zh-CN" altLang="en-US" dirty="0"/>
        </a:p>
      </dgm:t>
    </dgm:pt>
    <dgm:pt modelId="{4827A56F-F028-42ED-BB30-7EC218C297D5}" type="parTrans" cxnId="{25058456-A2FE-46C4-86E3-5F82B0D44567}">
      <dgm:prSet/>
      <dgm:spPr/>
      <dgm:t>
        <a:bodyPr/>
        <a:lstStyle/>
        <a:p>
          <a:endParaRPr lang="zh-CN" altLang="en-US"/>
        </a:p>
      </dgm:t>
    </dgm:pt>
    <dgm:pt modelId="{6AAB9783-3F22-432E-80A1-4108400186EF}" type="sibTrans" cxnId="{25058456-A2FE-46C4-86E3-5F82B0D44567}">
      <dgm:prSet/>
      <dgm:spPr/>
      <dgm:t>
        <a:bodyPr/>
        <a:lstStyle/>
        <a:p>
          <a:endParaRPr lang="zh-CN" altLang="en-US"/>
        </a:p>
      </dgm:t>
    </dgm:pt>
    <dgm:pt modelId="{484569EB-DD39-4D97-9A60-BB2E04D100ED}">
      <dgm:prSet phldrT="[Text]"/>
      <dgm:spPr/>
      <dgm:t>
        <a:bodyPr/>
        <a:lstStyle/>
        <a:p>
          <a:r>
            <a:rPr lang="en-US" altLang="zh-CN" dirty="0" smtClean="0"/>
            <a:t>Divide new groups of variables for exploration</a:t>
          </a:r>
          <a:endParaRPr lang="zh-CN" altLang="en-US" dirty="0"/>
        </a:p>
      </dgm:t>
    </dgm:pt>
    <dgm:pt modelId="{AB03F5C0-8B07-4F19-A282-FD0A3E48E219}" type="parTrans" cxnId="{4B8419F1-4635-4513-8EB9-F2FA16D4AC8B}">
      <dgm:prSet/>
      <dgm:spPr/>
      <dgm:t>
        <a:bodyPr/>
        <a:lstStyle/>
        <a:p>
          <a:endParaRPr lang="zh-CN" altLang="en-US"/>
        </a:p>
      </dgm:t>
    </dgm:pt>
    <dgm:pt modelId="{BE1DFA60-5DC1-4400-BB53-FA0B6C64541B}" type="sibTrans" cxnId="{4B8419F1-4635-4513-8EB9-F2FA16D4AC8B}">
      <dgm:prSet/>
      <dgm:spPr/>
      <dgm:t>
        <a:bodyPr/>
        <a:lstStyle/>
        <a:p>
          <a:endParaRPr lang="zh-CN" altLang="en-US"/>
        </a:p>
      </dgm:t>
    </dgm:pt>
    <dgm:pt modelId="{CB3C607C-9E4E-429E-96E0-4C8BC4D81369}">
      <dgm:prSet phldrT="[Text]"/>
      <dgm:spPr/>
      <dgm:t>
        <a:bodyPr/>
        <a:lstStyle/>
        <a:p>
          <a:r>
            <a:rPr lang="en-GB" altLang="zh-CN" dirty="0" smtClean="0"/>
            <a:t>Cohort + outcome</a:t>
          </a:r>
          <a:endParaRPr lang="zh-CN" altLang="en-US" dirty="0"/>
        </a:p>
      </dgm:t>
    </dgm:pt>
    <dgm:pt modelId="{1E3D4833-EE24-4076-B94D-FDE381A34F44}" type="parTrans" cxnId="{655DA89A-714C-4476-B3B3-BA04376A0CF1}">
      <dgm:prSet/>
      <dgm:spPr/>
      <dgm:t>
        <a:bodyPr/>
        <a:lstStyle/>
        <a:p>
          <a:endParaRPr lang="zh-CN" altLang="en-US"/>
        </a:p>
      </dgm:t>
    </dgm:pt>
    <dgm:pt modelId="{E5DE7624-9AE4-45BA-B3FD-F4DEFDDFF25C}" type="sibTrans" cxnId="{655DA89A-714C-4476-B3B3-BA04376A0CF1}">
      <dgm:prSet/>
      <dgm:spPr/>
      <dgm:t>
        <a:bodyPr/>
        <a:lstStyle/>
        <a:p>
          <a:endParaRPr lang="zh-CN" altLang="en-US"/>
        </a:p>
      </dgm:t>
    </dgm:pt>
    <dgm:pt modelId="{D7C7CD5A-2E72-45D7-9481-31082D9B0C77}">
      <dgm:prSet/>
      <dgm:spPr/>
      <dgm:t>
        <a:bodyPr/>
        <a:lstStyle/>
        <a:p>
          <a:r>
            <a:rPr lang="en-US" altLang="zh-CN" dirty="0" smtClean="0"/>
            <a:t>e.g. visit reason is one group, Cerebrospinal fluid is another, etc. </a:t>
          </a:r>
          <a:endParaRPr lang="zh-CN" altLang="en-US" dirty="0"/>
        </a:p>
      </dgm:t>
    </dgm:pt>
    <dgm:pt modelId="{5AE99A51-E1B1-417E-AB4B-18B9639E68B8}" type="parTrans" cxnId="{5C457FA5-94AC-4F1F-8C31-4BFF86112980}">
      <dgm:prSet/>
      <dgm:spPr/>
      <dgm:t>
        <a:bodyPr/>
        <a:lstStyle/>
        <a:p>
          <a:endParaRPr lang="zh-CN" altLang="en-US"/>
        </a:p>
      </dgm:t>
    </dgm:pt>
    <dgm:pt modelId="{53D59076-4600-4378-B466-3DCA70C061FF}" type="sibTrans" cxnId="{5C457FA5-94AC-4F1F-8C31-4BFF86112980}">
      <dgm:prSet/>
      <dgm:spPr/>
      <dgm:t>
        <a:bodyPr/>
        <a:lstStyle/>
        <a:p>
          <a:endParaRPr lang="zh-CN" altLang="en-US"/>
        </a:p>
      </dgm:t>
    </dgm:pt>
    <dgm:pt modelId="{64FE1BEF-30DC-4B4B-B27D-DF09128F9062}">
      <dgm:prSet/>
      <dgm:spPr/>
      <dgm:t>
        <a:bodyPr/>
        <a:lstStyle/>
        <a:p>
          <a:r>
            <a:rPr lang="en-US" altLang="zh-CN" dirty="0" smtClean="0"/>
            <a:t>– show how group variables look like</a:t>
          </a:r>
          <a:endParaRPr lang="zh-CN" altLang="en-US" dirty="0"/>
        </a:p>
      </dgm:t>
    </dgm:pt>
    <dgm:pt modelId="{56F771D8-DC96-4C93-9620-FAE1BA88E12F}" type="parTrans" cxnId="{8E7957D7-F62E-477B-BBBC-2786C27FABA9}">
      <dgm:prSet/>
      <dgm:spPr/>
      <dgm:t>
        <a:bodyPr/>
        <a:lstStyle/>
        <a:p>
          <a:endParaRPr lang="zh-CN" altLang="en-US"/>
        </a:p>
      </dgm:t>
    </dgm:pt>
    <dgm:pt modelId="{9E60182D-88B4-4495-8BC1-0C8F36B2239D}" type="sibTrans" cxnId="{8E7957D7-F62E-477B-BBBC-2786C27FABA9}">
      <dgm:prSet/>
      <dgm:spPr/>
      <dgm:t>
        <a:bodyPr/>
        <a:lstStyle/>
        <a:p>
          <a:endParaRPr lang="zh-CN" altLang="en-US"/>
        </a:p>
      </dgm:t>
    </dgm:pt>
    <dgm:pt modelId="{62129432-6EFE-408F-B94A-95F4DBA9BBC9}">
      <dgm:prSet/>
      <dgm:spPr/>
      <dgm:t>
        <a:bodyPr/>
        <a:lstStyle/>
        <a:p>
          <a:r>
            <a:rPr lang="en-GB" altLang="zh-CN" dirty="0" smtClean="0"/>
            <a:t>Focus on the composite cohort + 3 types of outcomes, namely relapse, </a:t>
          </a:r>
          <a:r>
            <a:rPr lang="en-GB" altLang="zh-CN" dirty="0" err="1" smtClean="0"/>
            <a:t>edss</a:t>
          </a:r>
          <a:r>
            <a:rPr lang="en-GB" altLang="zh-CN" dirty="0" smtClean="0"/>
            <a:t> progression and confirmed </a:t>
          </a:r>
          <a:r>
            <a:rPr lang="en-GB" altLang="zh-CN" dirty="0" err="1" smtClean="0"/>
            <a:t>edss</a:t>
          </a:r>
          <a:r>
            <a:rPr lang="en-GB" altLang="zh-CN" dirty="0" smtClean="0"/>
            <a:t> progression</a:t>
          </a:r>
          <a:endParaRPr lang="zh-CN" altLang="en-US" dirty="0"/>
        </a:p>
      </dgm:t>
    </dgm:pt>
    <dgm:pt modelId="{B86A49E3-3F19-40BF-8803-158D036C1ED7}" type="parTrans" cxnId="{930171A2-3750-4EA3-A01C-F06AD3E6E0D9}">
      <dgm:prSet/>
      <dgm:spPr/>
      <dgm:t>
        <a:bodyPr/>
        <a:lstStyle/>
        <a:p>
          <a:endParaRPr lang="zh-CN" altLang="en-US"/>
        </a:p>
      </dgm:t>
    </dgm:pt>
    <dgm:pt modelId="{DC3E6B60-F78D-49E6-8F85-840FD0CE9D17}" type="sibTrans" cxnId="{930171A2-3750-4EA3-A01C-F06AD3E6E0D9}">
      <dgm:prSet/>
      <dgm:spPr/>
      <dgm:t>
        <a:bodyPr/>
        <a:lstStyle/>
        <a:p>
          <a:endParaRPr lang="zh-CN" altLang="en-US"/>
        </a:p>
      </dgm:t>
    </dgm:pt>
    <dgm:pt modelId="{601A0342-98B1-4C57-81ED-6B00C6244BD3}">
      <dgm:prSet/>
      <dgm:spPr/>
      <dgm:t>
        <a:bodyPr/>
        <a:lstStyle/>
        <a:p>
          <a:r>
            <a:rPr lang="en-GB" altLang="zh-CN" dirty="0" smtClean="0"/>
            <a:t>Data size</a:t>
          </a:r>
          <a:endParaRPr lang="zh-CN" altLang="en-US" dirty="0"/>
        </a:p>
      </dgm:t>
    </dgm:pt>
    <dgm:pt modelId="{9B30305F-511C-454A-ABED-369FFFE4D058}" type="parTrans" cxnId="{FCFD788E-25F8-4422-AECA-908526687C02}">
      <dgm:prSet/>
      <dgm:spPr/>
      <dgm:t>
        <a:bodyPr/>
        <a:lstStyle/>
        <a:p>
          <a:endParaRPr lang="zh-CN" altLang="en-US"/>
        </a:p>
      </dgm:t>
    </dgm:pt>
    <dgm:pt modelId="{F258396D-3EF5-43A7-B119-F2F53AA27B2A}" type="sibTrans" cxnId="{FCFD788E-25F8-4422-AECA-908526687C02}">
      <dgm:prSet/>
      <dgm:spPr/>
      <dgm:t>
        <a:bodyPr/>
        <a:lstStyle/>
        <a:p>
          <a:endParaRPr lang="zh-CN" altLang="en-US"/>
        </a:p>
      </dgm:t>
    </dgm:pt>
    <dgm:pt modelId="{CEF2D05A-D3FC-44A4-8BE2-C3EA4055BCE3}">
      <dgm:prSet/>
      <dgm:spPr/>
      <dgm:t>
        <a:bodyPr/>
        <a:lstStyle/>
        <a:p>
          <a:r>
            <a:rPr lang="en-GB" altLang="zh-CN" dirty="0" smtClean="0"/>
            <a:t>stratify the data into 2 halves (different for every outcome)</a:t>
          </a:r>
          <a:endParaRPr lang="zh-CN" altLang="en-US" dirty="0"/>
        </a:p>
      </dgm:t>
    </dgm:pt>
    <dgm:pt modelId="{5A3E4E68-C01F-4A28-80ED-1825832BB563}" type="parTrans" cxnId="{66478C60-1D52-4652-97CC-9ACEFF0A0AAA}">
      <dgm:prSet/>
      <dgm:spPr/>
      <dgm:t>
        <a:bodyPr/>
        <a:lstStyle/>
        <a:p>
          <a:endParaRPr lang="zh-CN" altLang="en-US"/>
        </a:p>
      </dgm:t>
    </dgm:pt>
    <dgm:pt modelId="{B6FDA5CD-298E-4C17-9A1A-1DD9D715ACA4}" type="sibTrans" cxnId="{66478C60-1D52-4652-97CC-9ACEFF0A0AAA}">
      <dgm:prSet/>
      <dgm:spPr/>
      <dgm:t>
        <a:bodyPr/>
        <a:lstStyle/>
        <a:p>
          <a:endParaRPr lang="zh-CN" altLang="en-US"/>
        </a:p>
      </dgm:t>
    </dgm:pt>
    <dgm:pt modelId="{93107702-4AF9-4DA9-98A1-887DE6F0A45C}">
      <dgm:prSet/>
      <dgm:spPr/>
      <dgm:t>
        <a:bodyPr/>
        <a:lstStyle/>
        <a:p>
          <a:r>
            <a:rPr lang="en-GB" altLang="zh-CN" dirty="0" smtClean="0"/>
            <a:t>Hide one half permanently (we’ll probably never touch it)</a:t>
          </a:r>
          <a:endParaRPr lang="zh-CN" altLang="en-US" dirty="0"/>
        </a:p>
      </dgm:t>
    </dgm:pt>
    <dgm:pt modelId="{33B9D514-9B7F-43E9-A2D6-9AD5062F8146}" type="parTrans" cxnId="{A648DF45-0F53-493A-A720-964A0A121019}">
      <dgm:prSet/>
      <dgm:spPr/>
      <dgm:t>
        <a:bodyPr/>
        <a:lstStyle/>
        <a:p>
          <a:endParaRPr lang="zh-CN" altLang="en-US"/>
        </a:p>
      </dgm:t>
    </dgm:pt>
    <dgm:pt modelId="{C3A0C8A5-617B-4A80-BDD2-254AC967E374}" type="sibTrans" cxnId="{A648DF45-0F53-493A-A720-964A0A121019}">
      <dgm:prSet/>
      <dgm:spPr/>
      <dgm:t>
        <a:bodyPr/>
        <a:lstStyle/>
        <a:p>
          <a:endParaRPr lang="zh-CN" altLang="en-US"/>
        </a:p>
      </dgm:t>
    </dgm:pt>
    <dgm:pt modelId="{E274ED64-2DC4-4868-A6C4-688751307D5A}">
      <dgm:prSet/>
      <dgm:spPr/>
      <dgm:t>
        <a:bodyPr/>
        <a:lstStyle/>
        <a:p>
          <a:r>
            <a:rPr lang="en-GB" altLang="zh-CN" dirty="0" smtClean="0"/>
            <a:t>we use the other half to do the following experiments</a:t>
          </a:r>
          <a:endParaRPr lang="zh-CN" altLang="en-US" dirty="0"/>
        </a:p>
      </dgm:t>
    </dgm:pt>
    <dgm:pt modelId="{0D70BAC3-3E62-4898-B9DC-823A594229CF}" type="parTrans" cxnId="{EFD4C36E-68D4-4AFC-833B-2735264E243D}">
      <dgm:prSet/>
      <dgm:spPr/>
      <dgm:t>
        <a:bodyPr/>
        <a:lstStyle/>
        <a:p>
          <a:endParaRPr lang="zh-CN" altLang="en-US"/>
        </a:p>
      </dgm:t>
    </dgm:pt>
    <dgm:pt modelId="{7E1D5E56-53DC-4447-9918-8BA575202A3B}" type="sibTrans" cxnId="{EFD4C36E-68D4-4AFC-833B-2735264E243D}">
      <dgm:prSet/>
      <dgm:spPr/>
      <dgm:t>
        <a:bodyPr/>
        <a:lstStyle/>
        <a:p>
          <a:endParaRPr lang="zh-CN" altLang="en-US"/>
        </a:p>
      </dgm:t>
    </dgm:pt>
    <dgm:pt modelId="{F69A8069-050C-49B2-92A4-8FD37410D30F}">
      <dgm:prSet/>
      <dgm:spPr/>
      <dgm:t>
        <a:bodyPr/>
        <a:lstStyle/>
        <a:p>
          <a:r>
            <a:rPr lang="en-US" altLang="zh-CN" dirty="0" smtClean="0"/>
            <a:t>Do the experiment</a:t>
          </a:r>
          <a:endParaRPr lang="zh-CN" altLang="en-US" dirty="0"/>
        </a:p>
      </dgm:t>
    </dgm:pt>
    <dgm:pt modelId="{8B907301-1F17-4B8B-BC89-9150CA3E1616}" type="parTrans" cxnId="{FB264B10-B9A0-4EA0-85F1-1C8FDC60F6E3}">
      <dgm:prSet/>
      <dgm:spPr/>
      <dgm:t>
        <a:bodyPr/>
        <a:lstStyle/>
        <a:p>
          <a:endParaRPr lang="zh-CN" altLang="en-US"/>
        </a:p>
      </dgm:t>
    </dgm:pt>
    <dgm:pt modelId="{A1793920-B7E5-433F-8067-B37F8AAAD384}" type="sibTrans" cxnId="{FB264B10-B9A0-4EA0-85F1-1C8FDC60F6E3}">
      <dgm:prSet/>
      <dgm:spPr/>
      <dgm:t>
        <a:bodyPr/>
        <a:lstStyle/>
        <a:p>
          <a:endParaRPr lang="zh-CN" altLang="en-US"/>
        </a:p>
      </dgm:t>
    </dgm:pt>
    <dgm:pt modelId="{5E84D6AC-E4B5-4F54-A716-CC2CA2BE491F}">
      <dgm:prSet/>
      <dgm:spPr/>
      <dgm:t>
        <a:bodyPr/>
        <a:lstStyle/>
        <a:p>
          <a:r>
            <a:rPr lang="en-GB" altLang="zh-CN" dirty="0" smtClean="0"/>
            <a:t>say there are K groups obtained, then we do 2 * K experiments for each of the cohort + outcome combinations</a:t>
          </a:r>
          <a:endParaRPr lang="zh-CN" altLang="en-US" dirty="0"/>
        </a:p>
      </dgm:t>
    </dgm:pt>
    <dgm:pt modelId="{A463B8B2-7FA7-413C-81D1-C8666185E6BB}" type="parTrans" cxnId="{7309EB6A-F191-42EC-B475-D018F2E6AD79}">
      <dgm:prSet/>
      <dgm:spPr/>
      <dgm:t>
        <a:bodyPr/>
        <a:lstStyle/>
        <a:p>
          <a:endParaRPr lang="zh-CN" altLang="en-US"/>
        </a:p>
      </dgm:t>
    </dgm:pt>
    <dgm:pt modelId="{CF1FD78F-0156-4A80-9061-59FE97F28578}" type="sibTrans" cxnId="{7309EB6A-F191-42EC-B475-D018F2E6AD79}">
      <dgm:prSet/>
      <dgm:spPr/>
      <dgm:t>
        <a:bodyPr/>
        <a:lstStyle/>
        <a:p>
          <a:endParaRPr lang="zh-CN" altLang="en-US"/>
        </a:p>
      </dgm:t>
    </dgm:pt>
    <dgm:pt modelId="{EB485974-ABEB-4BAF-A1F4-045F7A0B061B}">
      <dgm:prSet/>
      <dgm:spPr/>
      <dgm:t>
        <a:bodyPr/>
        <a:lstStyle/>
        <a:p>
          <a:r>
            <a:rPr lang="en-GB" altLang="zh-CN" dirty="0" smtClean="0"/>
            <a:t>For each experiment, use all the base predictors + ONE group of new variables, produce the test and training AUCs (Remember that everything in this experiment only uses one half data produced!!)</a:t>
          </a:r>
          <a:endParaRPr lang="zh-CN" altLang="en-US" dirty="0"/>
        </a:p>
      </dgm:t>
    </dgm:pt>
    <dgm:pt modelId="{0CBDAF1D-2EB4-4124-BDF2-8B3240B3396B}" type="parTrans" cxnId="{4387C036-5FF6-4305-9E6D-8D8650105DBB}">
      <dgm:prSet/>
      <dgm:spPr/>
      <dgm:t>
        <a:bodyPr/>
        <a:lstStyle/>
        <a:p>
          <a:endParaRPr lang="zh-CN" altLang="en-US"/>
        </a:p>
      </dgm:t>
    </dgm:pt>
    <dgm:pt modelId="{717C96F9-39E3-4057-A1B4-00916FFB1DC0}" type="sibTrans" cxnId="{4387C036-5FF6-4305-9E6D-8D8650105DBB}">
      <dgm:prSet/>
      <dgm:spPr/>
      <dgm:t>
        <a:bodyPr/>
        <a:lstStyle/>
        <a:p>
          <a:endParaRPr lang="zh-CN" altLang="en-US"/>
        </a:p>
      </dgm:t>
    </dgm:pt>
    <dgm:pt modelId="{A5AB8460-5FA9-49BB-83A0-807D8CC0695A}">
      <dgm:prSet/>
      <dgm:spPr/>
      <dgm:t>
        <a:bodyPr/>
        <a:lstStyle/>
        <a:p>
          <a:r>
            <a:rPr lang="en-GB" altLang="zh-CN" dirty="0" smtClean="0"/>
            <a:t>For each specific new group, do two experiments: one using our existing elastic net and the other using the newly implemented random forest/SVM. This will give us two test AUCs for the same group, which tells us whether the new group is helping the prediction. </a:t>
          </a:r>
          <a:endParaRPr lang="zh-CN" altLang="en-US" dirty="0"/>
        </a:p>
      </dgm:t>
    </dgm:pt>
    <dgm:pt modelId="{E71D5180-657A-4B61-A141-1D92632E0DAF}" type="parTrans" cxnId="{5A28D309-7B99-4AF5-8D4D-C56AAF2F2CDE}">
      <dgm:prSet/>
      <dgm:spPr/>
      <dgm:t>
        <a:bodyPr/>
        <a:lstStyle/>
        <a:p>
          <a:endParaRPr lang="zh-CN" altLang="en-US"/>
        </a:p>
      </dgm:t>
    </dgm:pt>
    <dgm:pt modelId="{572875AD-EB91-42DF-B125-7247019EA67D}" type="sibTrans" cxnId="{5A28D309-7B99-4AF5-8D4D-C56AAF2F2CDE}">
      <dgm:prSet/>
      <dgm:spPr/>
      <dgm:t>
        <a:bodyPr/>
        <a:lstStyle/>
        <a:p>
          <a:endParaRPr lang="zh-CN" altLang="en-US"/>
        </a:p>
      </dgm:t>
    </dgm:pt>
    <dgm:pt modelId="{42CE9F39-C6E2-4A79-BF9E-5D40ADB948F4}">
      <dgm:prSet/>
      <dgm:spPr/>
      <dgm:t>
        <a:bodyPr/>
        <a:lstStyle/>
        <a:p>
          <a:r>
            <a:rPr lang="en-GB" altLang="zh-CN" dirty="0" smtClean="0"/>
            <a:t>do this for all K groups. This tells us which groups are helping</a:t>
          </a:r>
          <a:endParaRPr lang="zh-CN" altLang="en-US" dirty="0"/>
        </a:p>
      </dgm:t>
    </dgm:pt>
    <dgm:pt modelId="{73983702-F98D-4189-B05E-34D842C73973}" type="parTrans" cxnId="{A9FC9816-F280-4EBF-A660-0417F804B230}">
      <dgm:prSet/>
      <dgm:spPr/>
      <dgm:t>
        <a:bodyPr/>
        <a:lstStyle/>
        <a:p>
          <a:endParaRPr lang="zh-CN" altLang="en-US"/>
        </a:p>
      </dgm:t>
    </dgm:pt>
    <dgm:pt modelId="{697EE4D6-C2F9-4C02-A8AC-3F56DAF0444E}" type="sibTrans" cxnId="{A9FC9816-F280-4EBF-A660-0417F804B230}">
      <dgm:prSet/>
      <dgm:spPr/>
      <dgm:t>
        <a:bodyPr/>
        <a:lstStyle/>
        <a:p>
          <a:endParaRPr lang="zh-CN" altLang="en-US"/>
        </a:p>
      </dgm:t>
    </dgm:pt>
    <dgm:pt modelId="{DF4B1BEE-CB9C-4CD0-A15B-966017DCDF94}" type="pres">
      <dgm:prSet presAssocID="{7C50C8E9-CB4F-4696-89D5-988E05D5E20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1E1B201-B8CC-4EF2-BD3E-845E440EA610}" type="pres">
      <dgm:prSet presAssocID="{48FB634A-4AF3-4CC0-87AE-B22798C28C2E}" presName="parentLin" presStyleCnt="0"/>
      <dgm:spPr/>
    </dgm:pt>
    <dgm:pt modelId="{51DC6341-B9DE-46A4-B0D4-7C63380EAD51}" type="pres">
      <dgm:prSet presAssocID="{48FB634A-4AF3-4CC0-87AE-B22798C28C2E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ADF0BC7B-5A55-4337-A3B1-B8E3F766BE3B}" type="pres">
      <dgm:prSet presAssocID="{48FB634A-4AF3-4CC0-87AE-B22798C28C2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3A69F01-1B49-4943-A7CD-5858210B4A9C}" type="pres">
      <dgm:prSet presAssocID="{48FB634A-4AF3-4CC0-87AE-B22798C28C2E}" presName="negativeSpace" presStyleCnt="0"/>
      <dgm:spPr/>
    </dgm:pt>
    <dgm:pt modelId="{2AE5E89D-0168-40B8-A906-3F4E18E2572B}" type="pres">
      <dgm:prSet presAssocID="{48FB634A-4AF3-4CC0-87AE-B22798C28C2E}" presName="childText" presStyleLbl="conFgAcc1" presStyleIdx="0" presStyleCnt="5">
        <dgm:presLayoutVars>
          <dgm:bulletEnabled val="1"/>
        </dgm:presLayoutVars>
      </dgm:prSet>
      <dgm:spPr/>
    </dgm:pt>
    <dgm:pt modelId="{993E113B-1D86-469B-A661-5B783D083EFD}" type="pres">
      <dgm:prSet presAssocID="{6AAB9783-3F22-432E-80A1-4108400186EF}" presName="spaceBetweenRectangles" presStyleCnt="0"/>
      <dgm:spPr/>
    </dgm:pt>
    <dgm:pt modelId="{7AEAC9A3-E5A5-4DE0-AAD7-840F1BB733F4}" type="pres">
      <dgm:prSet presAssocID="{484569EB-DD39-4D97-9A60-BB2E04D100ED}" presName="parentLin" presStyleCnt="0"/>
      <dgm:spPr/>
    </dgm:pt>
    <dgm:pt modelId="{9EC86F21-29E9-402A-B4FE-49FBE7526F53}" type="pres">
      <dgm:prSet presAssocID="{484569EB-DD39-4D97-9A60-BB2E04D100E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B25EAE34-D5DA-491F-B41C-513693ED4266}" type="pres">
      <dgm:prSet presAssocID="{484569EB-DD39-4D97-9A60-BB2E04D100ED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8C816C0-4BEA-4C95-B03E-539B34C9E72C}" type="pres">
      <dgm:prSet presAssocID="{484569EB-DD39-4D97-9A60-BB2E04D100ED}" presName="negativeSpace" presStyleCnt="0"/>
      <dgm:spPr/>
    </dgm:pt>
    <dgm:pt modelId="{4F522634-B6E0-41E9-83ED-0BC8F2F5C399}" type="pres">
      <dgm:prSet presAssocID="{484569EB-DD39-4D97-9A60-BB2E04D100ED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DF8D374-3C7A-4D4D-B346-78A525876577}" type="pres">
      <dgm:prSet presAssocID="{BE1DFA60-5DC1-4400-BB53-FA0B6C64541B}" presName="spaceBetweenRectangles" presStyleCnt="0"/>
      <dgm:spPr/>
    </dgm:pt>
    <dgm:pt modelId="{8E05F276-A66A-43E3-9665-1C8E1C634C29}" type="pres">
      <dgm:prSet presAssocID="{CB3C607C-9E4E-429E-96E0-4C8BC4D81369}" presName="parentLin" presStyleCnt="0"/>
      <dgm:spPr/>
    </dgm:pt>
    <dgm:pt modelId="{1BAA49F7-36CB-42D7-9597-ED08C6E3F2AD}" type="pres">
      <dgm:prSet presAssocID="{CB3C607C-9E4E-429E-96E0-4C8BC4D81369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E3C14568-E4F2-4DB3-AEC1-B9876509F1EE}" type="pres">
      <dgm:prSet presAssocID="{CB3C607C-9E4E-429E-96E0-4C8BC4D81369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B9C678B-91BA-4965-A1EE-5366B97EEDFB}" type="pres">
      <dgm:prSet presAssocID="{CB3C607C-9E4E-429E-96E0-4C8BC4D81369}" presName="negativeSpace" presStyleCnt="0"/>
      <dgm:spPr/>
    </dgm:pt>
    <dgm:pt modelId="{58D58C6D-B354-4736-92F0-9208C372A8A3}" type="pres">
      <dgm:prSet presAssocID="{CB3C607C-9E4E-429E-96E0-4C8BC4D81369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ACE135F-C879-47F3-AEDC-96EBCF3CD282}" type="pres">
      <dgm:prSet presAssocID="{E5DE7624-9AE4-45BA-B3FD-F4DEFDDFF25C}" presName="spaceBetweenRectangles" presStyleCnt="0"/>
      <dgm:spPr/>
    </dgm:pt>
    <dgm:pt modelId="{A3C4214C-7463-4EDD-B96A-CD26A754BFE1}" type="pres">
      <dgm:prSet presAssocID="{601A0342-98B1-4C57-81ED-6B00C6244BD3}" presName="parentLin" presStyleCnt="0"/>
      <dgm:spPr/>
    </dgm:pt>
    <dgm:pt modelId="{E51E4192-2FC3-4068-A6A9-13BD4CBD377A}" type="pres">
      <dgm:prSet presAssocID="{601A0342-98B1-4C57-81ED-6B00C6244BD3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F54D6949-A787-47C0-9EE2-70D6C2ECE530}" type="pres">
      <dgm:prSet presAssocID="{601A0342-98B1-4C57-81ED-6B00C6244BD3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800E7DB-1F83-4346-AF5F-D724C464931F}" type="pres">
      <dgm:prSet presAssocID="{601A0342-98B1-4C57-81ED-6B00C6244BD3}" presName="negativeSpace" presStyleCnt="0"/>
      <dgm:spPr/>
    </dgm:pt>
    <dgm:pt modelId="{292AFFDF-B385-401A-95E9-F9B4EE75411D}" type="pres">
      <dgm:prSet presAssocID="{601A0342-98B1-4C57-81ED-6B00C6244BD3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034BC0B-7CA1-41F6-A688-EB1846181D19}" type="pres">
      <dgm:prSet presAssocID="{F258396D-3EF5-43A7-B119-F2F53AA27B2A}" presName="spaceBetweenRectangles" presStyleCnt="0"/>
      <dgm:spPr/>
    </dgm:pt>
    <dgm:pt modelId="{180F3D02-6A79-4993-81D2-19477E83A7C0}" type="pres">
      <dgm:prSet presAssocID="{F69A8069-050C-49B2-92A4-8FD37410D30F}" presName="parentLin" presStyleCnt="0"/>
      <dgm:spPr/>
    </dgm:pt>
    <dgm:pt modelId="{0AADAA17-5234-4C3D-9F87-BAFF64B56161}" type="pres">
      <dgm:prSet presAssocID="{F69A8069-050C-49B2-92A4-8FD37410D30F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9506CF50-375C-439F-9478-A81D22774C05}" type="pres">
      <dgm:prSet presAssocID="{F69A8069-050C-49B2-92A4-8FD37410D30F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81A7D28-39CF-4958-9948-46B21B2BDD59}" type="pres">
      <dgm:prSet presAssocID="{F69A8069-050C-49B2-92A4-8FD37410D30F}" presName="negativeSpace" presStyleCnt="0"/>
      <dgm:spPr/>
    </dgm:pt>
    <dgm:pt modelId="{B13B526A-E323-404E-BE99-B12E2689DC3D}" type="pres">
      <dgm:prSet presAssocID="{F69A8069-050C-49B2-92A4-8FD37410D30F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A9FC9816-F280-4EBF-A660-0417F804B230}" srcId="{F69A8069-050C-49B2-92A4-8FD37410D30F}" destId="{42CE9F39-C6E2-4A79-BF9E-5D40ADB948F4}" srcOrd="3" destOrd="0" parTransId="{73983702-F98D-4189-B05E-34D842C73973}" sibTransId="{697EE4D6-C2F9-4C02-A8AC-3F56DAF0444E}"/>
    <dgm:cxn modelId="{1140674E-4EDC-4180-BF40-464EB23E242A}" type="presOf" srcId="{601A0342-98B1-4C57-81ED-6B00C6244BD3}" destId="{F54D6949-A787-47C0-9EE2-70D6C2ECE530}" srcOrd="1" destOrd="0" presId="urn:microsoft.com/office/officeart/2005/8/layout/list1"/>
    <dgm:cxn modelId="{89392989-6F74-4BC8-AA56-5834FE40D04D}" type="presOf" srcId="{601A0342-98B1-4C57-81ED-6B00C6244BD3}" destId="{E51E4192-2FC3-4068-A6A9-13BD4CBD377A}" srcOrd="0" destOrd="0" presId="urn:microsoft.com/office/officeart/2005/8/layout/list1"/>
    <dgm:cxn modelId="{5A28D309-7B99-4AF5-8D4D-C56AAF2F2CDE}" srcId="{F69A8069-050C-49B2-92A4-8FD37410D30F}" destId="{A5AB8460-5FA9-49BB-83A0-807D8CC0695A}" srcOrd="2" destOrd="0" parTransId="{E71D5180-657A-4B61-A141-1D92632E0DAF}" sibTransId="{572875AD-EB91-42DF-B125-7247019EA67D}"/>
    <dgm:cxn modelId="{2D62B5BA-CFC0-4FE6-B214-F7FAE657C881}" type="presOf" srcId="{48FB634A-4AF3-4CC0-87AE-B22798C28C2E}" destId="{51DC6341-B9DE-46A4-B0D4-7C63380EAD51}" srcOrd="0" destOrd="0" presId="urn:microsoft.com/office/officeart/2005/8/layout/list1"/>
    <dgm:cxn modelId="{7309EB6A-F191-42EC-B475-D018F2E6AD79}" srcId="{F69A8069-050C-49B2-92A4-8FD37410D30F}" destId="{5E84D6AC-E4B5-4F54-A716-CC2CA2BE491F}" srcOrd="0" destOrd="0" parTransId="{A463B8B2-7FA7-413C-81D1-C8666185E6BB}" sibTransId="{CF1FD78F-0156-4A80-9061-59FE97F28578}"/>
    <dgm:cxn modelId="{FCFD788E-25F8-4422-AECA-908526687C02}" srcId="{7C50C8E9-CB4F-4696-89D5-988E05D5E20F}" destId="{601A0342-98B1-4C57-81ED-6B00C6244BD3}" srcOrd="3" destOrd="0" parTransId="{9B30305F-511C-454A-ABED-369FFFE4D058}" sibTransId="{F258396D-3EF5-43A7-B119-F2F53AA27B2A}"/>
    <dgm:cxn modelId="{0CB97E19-CC4C-4DD7-9899-C4607755D7F9}" type="presOf" srcId="{484569EB-DD39-4D97-9A60-BB2E04D100ED}" destId="{9EC86F21-29E9-402A-B4FE-49FBE7526F53}" srcOrd="0" destOrd="0" presId="urn:microsoft.com/office/officeart/2005/8/layout/list1"/>
    <dgm:cxn modelId="{FB264B10-B9A0-4EA0-85F1-1C8FDC60F6E3}" srcId="{7C50C8E9-CB4F-4696-89D5-988E05D5E20F}" destId="{F69A8069-050C-49B2-92A4-8FD37410D30F}" srcOrd="4" destOrd="0" parTransId="{8B907301-1F17-4B8B-BC89-9150CA3E1616}" sibTransId="{A1793920-B7E5-433F-8067-B37F8AAAD384}"/>
    <dgm:cxn modelId="{5C457FA5-94AC-4F1F-8C31-4BFF86112980}" srcId="{484569EB-DD39-4D97-9A60-BB2E04D100ED}" destId="{D7C7CD5A-2E72-45D7-9481-31082D9B0C77}" srcOrd="0" destOrd="0" parTransId="{5AE99A51-E1B1-417E-AB4B-18B9639E68B8}" sibTransId="{53D59076-4600-4378-B466-3DCA70C061FF}"/>
    <dgm:cxn modelId="{0A9A51B8-2394-451F-8196-84286A9F1B8C}" type="presOf" srcId="{E274ED64-2DC4-4868-A6C4-688751307D5A}" destId="{292AFFDF-B385-401A-95E9-F9B4EE75411D}" srcOrd="0" destOrd="2" presId="urn:microsoft.com/office/officeart/2005/8/layout/list1"/>
    <dgm:cxn modelId="{655DA89A-714C-4476-B3B3-BA04376A0CF1}" srcId="{7C50C8E9-CB4F-4696-89D5-988E05D5E20F}" destId="{CB3C607C-9E4E-429E-96E0-4C8BC4D81369}" srcOrd="2" destOrd="0" parTransId="{1E3D4833-EE24-4076-B94D-FDE381A34F44}" sibTransId="{E5DE7624-9AE4-45BA-B3FD-F4DEFDDFF25C}"/>
    <dgm:cxn modelId="{4B8419F1-4635-4513-8EB9-F2FA16D4AC8B}" srcId="{7C50C8E9-CB4F-4696-89D5-988E05D5E20F}" destId="{484569EB-DD39-4D97-9A60-BB2E04D100ED}" srcOrd="1" destOrd="0" parTransId="{AB03F5C0-8B07-4F19-A282-FD0A3E48E219}" sibTransId="{BE1DFA60-5DC1-4400-BB53-FA0B6C64541B}"/>
    <dgm:cxn modelId="{F250ABC7-5790-4B0C-9EAA-64E386F1CFEE}" type="presOf" srcId="{93107702-4AF9-4DA9-98A1-887DE6F0A45C}" destId="{292AFFDF-B385-401A-95E9-F9B4EE75411D}" srcOrd="0" destOrd="1" presId="urn:microsoft.com/office/officeart/2005/8/layout/list1"/>
    <dgm:cxn modelId="{47A8D0F0-4A4C-46F2-99D1-1F37D97681E2}" type="presOf" srcId="{42CE9F39-C6E2-4A79-BF9E-5D40ADB948F4}" destId="{B13B526A-E323-404E-BE99-B12E2689DC3D}" srcOrd="0" destOrd="3" presId="urn:microsoft.com/office/officeart/2005/8/layout/list1"/>
    <dgm:cxn modelId="{F2FB54EA-446D-4B50-8BDC-C16388FA13D0}" type="presOf" srcId="{EB485974-ABEB-4BAF-A1F4-045F7A0B061B}" destId="{B13B526A-E323-404E-BE99-B12E2689DC3D}" srcOrd="0" destOrd="1" presId="urn:microsoft.com/office/officeart/2005/8/layout/list1"/>
    <dgm:cxn modelId="{11AB211A-6C34-4946-99CC-D7C35C3CD3CA}" type="presOf" srcId="{5E84D6AC-E4B5-4F54-A716-CC2CA2BE491F}" destId="{B13B526A-E323-404E-BE99-B12E2689DC3D}" srcOrd="0" destOrd="0" presId="urn:microsoft.com/office/officeart/2005/8/layout/list1"/>
    <dgm:cxn modelId="{66478C60-1D52-4652-97CC-9ACEFF0A0AAA}" srcId="{601A0342-98B1-4C57-81ED-6B00C6244BD3}" destId="{CEF2D05A-D3FC-44A4-8BE2-C3EA4055BCE3}" srcOrd="0" destOrd="0" parTransId="{5A3E4E68-C01F-4A28-80ED-1825832BB563}" sibTransId="{B6FDA5CD-298E-4C17-9A1A-1DD9D715ACA4}"/>
    <dgm:cxn modelId="{4387C036-5FF6-4305-9E6D-8D8650105DBB}" srcId="{F69A8069-050C-49B2-92A4-8FD37410D30F}" destId="{EB485974-ABEB-4BAF-A1F4-045F7A0B061B}" srcOrd="1" destOrd="0" parTransId="{0CBDAF1D-2EB4-4124-BDF2-8B3240B3396B}" sibTransId="{717C96F9-39E3-4057-A1B4-00916FFB1DC0}"/>
    <dgm:cxn modelId="{E9F7D037-2AB8-419C-941E-EE9E11C5E12A}" type="presOf" srcId="{CEF2D05A-D3FC-44A4-8BE2-C3EA4055BCE3}" destId="{292AFFDF-B385-401A-95E9-F9B4EE75411D}" srcOrd="0" destOrd="0" presId="urn:microsoft.com/office/officeart/2005/8/layout/list1"/>
    <dgm:cxn modelId="{767ACDCA-AD35-451B-A993-4549ACF11169}" type="presOf" srcId="{CB3C607C-9E4E-429E-96E0-4C8BC4D81369}" destId="{E3C14568-E4F2-4DB3-AEC1-B9876509F1EE}" srcOrd="1" destOrd="0" presId="urn:microsoft.com/office/officeart/2005/8/layout/list1"/>
    <dgm:cxn modelId="{96EB27B2-1474-4A6E-8095-FB2FEF406801}" type="presOf" srcId="{F69A8069-050C-49B2-92A4-8FD37410D30F}" destId="{0AADAA17-5234-4C3D-9F87-BAFF64B56161}" srcOrd="0" destOrd="0" presId="urn:microsoft.com/office/officeart/2005/8/layout/list1"/>
    <dgm:cxn modelId="{5DA60645-08E9-4AF1-9825-3F479528B91D}" type="presOf" srcId="{48FB634A-4AF3-4CC0-87AE-B22798C28C2E}" destId="{ADF0BC7B-5A55-4337-A3B1-B8E3F766BE3B}" srcOrd="1" destOrd="0" presId="urn:microsoft.com/office/officeart/2005/8/layout/list1"/>
    <dgm:cxn modelId="{25058456-A2FE-46C4-86E3-5F82B0D44567}" srcId="{7C50C8E9-CB4F-4696-89D5-988E05D5E20F}" destId="{48FB634A-4AF3-4CC0-87AE-B22798C28C2E}" srcOrd="0" destOrd="0" parTransId="{4827A56F-F028-42ED-BB30-7EC218C297D5}" sibTransId="{6AAB9783-3F22-432E-80A1-4108400186EF}"/>
    <dgm:cxn modelId="{DA796C49-117E-48A7-B616-64A4417A635B}" type="presOf" srcId="{A5AB8460-5FA9-49BB-83A0-807D8CC0695A}" destId="{B13B526A-E323-404E-BE99-B12E2689DC3D}" srcOrd="0" destOrd="2" presId="urn:microsoft.com/office/officeart/2005/8/layout/list1"/>
    <dgm:cxn modelId="{BEED3751-72D9-4AFA-851B-C3840416C2EC}" type="presOf" srcId="{484569EB-DD39-4D97-9A60-BB2E04D100ED}" destId="{B25EAE34-D5DA-491F-B41C-513693ED4266}" srcOrd="1" destOrd="0" presId="urn:microsoft.com/office/officeart/2005/8/layout/list1"/>
    <dgm:cxn modelId="{28D0D290-5410-4E1F-ABA8-A18839FCF38D}" type="presOf" srcId="{F69A8069-050C-49B2-92A4-8FD37410D30F}" destId="{9506CF50-375C-439F-9478-A81D22774C05}" srcOrd="1" destOrd="0" presId="urn:microsoft.com/office/officeart/2005/8/layout/list1"/>
    <dgm:cxn modelId="{A648DF45-0F53-493A-A720-964A0A121019}" srcId="{601A0342-98B1-4C57-81ED-6B00C6244BD3}" destId="{93107702-4AF9-4DA9-98A1-887DE6F0A45C}" srcOrd="1" destOrd="0" parTransId="{33B9D514-9B7F-43E9-A2D6-9AD5062F8146}" sibTransId="{C3A0C8A5-617B-4A80-BDD2-254AC967E374}"/>
    <dgm:cxn modelId="{8E7957D7-F62E-477B-BBBC-2786C27FABA9}" srcId="{484569EB-DD39-4D97-9A60-BB2E04D100ED}" destId="{64FE1BEF-30DC-4B4B-B27D-DF09128F9062}" srcOrd="1" destOrd="0" parTransId="{56F771D8-DC96-4C93-9620-FAE1BA88E12F}" sibTransId="{9E60182D-88B4-4495-8BC1-0C8F36B2239D}"/>
    <dgm:cxn modelId="{930171A2-3750-4EA3-A01C-F06AD3E6E0D9}" srcId="{CB3C607C-9E4E-429E-96E0-4C8BC4D81369}" destId="{62129432-6EFE-408F-B94A-95F4DBA9BBC9}" srcOrd="0" destOrd="0" parTransId="{B86A49E3-3F19-40BF-8803-158D036C1ED7}" sibTransId="{DC3E6B60-F78D-49E6-8F85-840FD0CE9D17}"/>
    <dgm:cxn modelId="{EFD4C36E-68D4-4AFC-833B-2735264E243D}" srcId="{601A0342-98B1-4C57-81ED-6B00C6244BD3}" destId="{E274ED64-2DC4-4868-A6C4-688751307D5A}" srcOrd="2" destOrd="0" parTransId="{0D70BAC3-3E62-4898-B9DC-823A594229CF}" sibTransId="{7E1D5E56-53DC-4447-9918-8BA575202A3B}"/>
    <dgm:cxn modelId="{E7FA5743-B630-45DC-9817-8C159EA389F1}" type="presOf" srcId="{64FE1BEF-30DC-4B4B-B27D-DF09128F9062}" destId="{4F522634-B6E0-41E9-83ED-0BC8F2F5C399}" srcOrd="0" destOrd="1" presId="urn:microsoft.com/office/officeart/2005/8/layout/list1"/>
    <dgm:cxn modelId="{504077C7-DA0B-4A6D-A2FA-41C2EAE02F04}" type="presOf" srcId="{D7C7CD5A-2E72-45D7-9481-31082D9B0C77}" destId="{4F522634-B6E0-41E9-83ED-0BC8F2F5C399}" srcOrd="0" destOrd="0" presId="urn:microsoft.com/office/officeart/2005/8/layout/list1"/>
    <dgm:cxn modelId="{D265B75C-9E98-45BC-A285-080034DF4624}" type="presOf" srcId="{CB3C607C-9E4E-429E-96E0-4C8BC4D81369}" destId="{1BAA49F7-36CB-42D7-9597-ED08C6E3F2AD}" srcOrd="0" destOrd="0" presId="urn:microsoft.com/office/officeart/2005/8/layout/list1"/>
    <dgm:cxn modelId="{D4A3949F-47DE-423B-B5EC-F7F744B3F5F1}" type="presOf" srcId="{7C50C8E9-CB4F-4696-89D5-988E05D5E20F}" destId="{DF4B1BEE-CB9C-4CD0-A15B-966017DCDF94}" srcOrd="0" destOrd="0" presId="urn:microsoft.com/office/officeart/2005/8/layout/list1"/>
    <dgm:cxn modelId="{80972EE2-7D71-4BB9-94DB-9A5C1D28CD65}" type="presOf" srcId="{62129432-6EFE-408F-B94A-95F4DBA9BBC9}" destId="{58D58C6D-B354-4736-92F0-9208C372A8A3}" srcOrd="0" destOrd="0" presId="urn:microsoft.com/office/officeart/2005/8/layout/list1"/>
    <dgm:cxn modelId="{21CAE554-5830-44B9-8ABA-6BB7F565E4F7}" type="presParOf" srcId="{DF4B1BEE-CB9C-4CD0-A15B-966017DCDF94}" destId="{01E1B201-B8CC-4EF2-BD3E-845E440EA610}" srcOrd="0" destOrd="0" presId="urn:microsoft.com/office/officeart/2005/8/layout/list1"/>
    <dgm:cxn modelId="{9FA23D28-7EB7-46B5-9FD3-90E80D1F6E25}" type="presParOf" srcId="{01E1B201-B8CC-4EF2-BD3E-845E440EA610}" destId="{51DC6341-B9DE-46A4-B0D4-7C63380EAD51}" srcOrd="0" destOrd="0" presId="urn:microsoft.com/office/officeart/2005/8/layout/list1"/>
    <dgm:cxn modelId="{1F8E6935-C427-4DAE-A3C5-5477B916CDB9}" type="presParOf" srcId="{01E1B201-B8CC-4EF2-BD3E-845E440EA610}" destId="{ADF0BC7B-5A55-4337-A3B1-B8E3F766BE3B}" srcOrd="1" destOrd="0" presId="urn:microsoft.com/office/officeart/2005/8/layout/list1"/>
    <dgm:cxn modelId="{54A967A5-E9C1-4141-AD96-7D663891FACD}" type="presParOf" srcId="{DF4B1BEE-CB9C-4CD0-A15B-966017DCDF94}" destId="{03A69F01-1B49-4943-A7CD-5858210B4A9C}" srcOrd="1" destOrd="0" presId="urn:microsoft.com/office/officeart/2005/8/layout/list1"/>
    <dgm:cxn modelId="{C5377063-FC84-473C-A9C7-D6944B4F5B26}" type="presParOf" srcId="{DF4B1BEE-CB9C-4CD0-A15B-966017DCDF94}" destId="{2AE5E89D-0168-40B8-A906-3F4E18E2572B}" srcOrd="2" destOrd="0" presId="urn:microsoft.com/office/officeart/2005/8/layout/list1"/>
    <dgm:cxn modelId="{C56198CB-0C82-4AD3-A594-2B7F484C3518}" type="presParOf" srcId="{DF4B1BEE-CB9C-4CD0-A15B-966017DCDF94}" destId="{993E113B-1D86-469B-A661-5B783D083EFD}" srcOrd="3" destOrd="0" presId="urn:microsoft.com/office/officeart/2005/8/layout/list1"/>
    <dgm:cxn modelId="{A35AC378-811E-4DC7-97F7-B6EEFD55EE46}" type="presParOf" srcId="{DF4B1BEE-CB9C-4CD0-A15B-966017DCDF94}" destId="{7AEAC9A3-E5A5-4DE0-AAD7-840F1BB733F4}" srcOrd="4" destOrd="0" presId="urn:microsoft.com/office/officeart/2005/8/layout/list1"/>
    <dgm:cxn modelId="{2042C488-AB46-41F7-B1B0-3C2A1FC52781}" type="presParOf" srcId="{7AEAC9A3-E5A5-4DE0-AAD7-840F1BB733F4}" destId="{9EC86F21-29E9-402A-B4FE-49FBE7526F53}" srcOrd="0" destOrd="0" presId="urn:microsoft.com/office/officeart/2005/8/layout/list1"/>
    <dgm:cxn modelId="{B58794CE-96E4-4ACF-9F9E-08952524A402}" type="presParOf" srcId="{7AEAC9A3-E5A5-4DE0-AAD7-840F1BB733F4}" destId="{B25EAE34-D5DA-491F-B41C-513693ED4266}" srcOrd="1" destOrd="0" presId="urn:microsoft.com/office/officeart/2005/8/layout/list1"/>
    <dgm:cxn modelId="{563F8BA4-198E-432C-A078-EBAECEE37E07}" type="presParOf" srcId="{DF4B1BEE-CB9C-4CD0-A15B-966017DCDF94}" destId="{58C816C0-4BEA-4C95-B03E-539B34C9E72C}" srcOrd="5" destOrd="0" presId="urn:microsoft.com/office/officeart/2005/8/layout/list1"/>
    <dgm:cxn modelId="{AB4B348F-9A04-4D89-9278-E505B48A0D9F}" type="presParOf" srcId="{DF4B1BEE-CB9C-4CD0-A15B-966017DCDF94}" destId="{4F522634-B6E0-41E9-83ED-0BC8F2F5C399}" srcOrd="6" destOrd="0" presId="urn:microsoft.com/office/officeart/2005/8/layout/list1"/>
    <dgm:cxn modelId="{12F6D8C2-2365-413A-9382-A385EB1EA2BE}" type="presParOf" srcId="{DF4B1BEE-CB9C-4CD0-A15B-966017DCDF94}" destId="{8DF8D374-3C7A-4D4D-B346-78A525876577}" srcOrd="7" destOrd="0" presId="urn:microsoft.com/office/officeart/2005/8/layout/list1"/>
    <dgm:cxn modelId="{D8FB6D7B-D24B-4457-91A3-BF456A931DE9}" type="presParOf" srcId="{DF4B1BEE-CB9C-4CD0-A15B-966017DCDF94}" destId="{8E05F276-A66A-43E3-9665-1C8E1C634C29}" srcOrd="8" destOrd="0" presId="urn:microsoft.com/office/officeart/2005/8/layout/list1"/>
    <dgm:cxn modelId="{6F58DA8A-C2C3-4BEE-9589-609F046B3E12}" type="presParOf" srcId="{8E05F276-A66A-43E3-9665-1C8E1C634C29}" destId="{1BAA49F7-36CB-42D7-9597-ED08C6E3F2AD}" srcOrd="0" destOrd="0" presId="urn:microsoft.com/office/officeart/2005/8/layout/list1"/>
    <dgm:cxn modelId="{E547E38D-D985-450E-89D7-9A080C564F6F}" type="presParOf" srcId="{8E05F276-A66A-43E3-9665-1C8E1C634C29}" destId="{E3C14568-E4F2-4DB3-AEC1-B9876509F1EE}" srcOrd="1" destOrd="0" presId="urn:microsoft.com/office/officeart/2005/8/layout/list1"/>
    <dgm:cxn modelId="{CF19670D-B3AF-447E-BF53-8B8F4143BA1B}" type="presParOf" srcId="{DF4B1BEE-CB9C-4CD0-A15B-966017DCDF94}" destId="{FB9C678B-91BA-4965-A1EE-5366B97EEDFB}" srcOrd="9" destOrd="0" presId="urn:microsoft.com/office/officeart/2005/8/layout/list1"/>
    <dgm:cxn modelId="{C0388866-822A-4AA8-B9BE-24EA48F46DE9}" type="presParOf" srcId="{DF4B1BEE-CB9C-4CD0-A15B-966017DCDF94}" destId="{58D58C6D-B354-4736-92F0-9208C372A8A3}" srcOrd="10" destOrd="0" presId="urn:microsoft.com/office/officeart/2005/8/layout/list1"/>
    <dgm:cxn modelId="{BA721B10-DB1A-40FC-9439-2452BDB80110}" type="presParOf" srcId="{DF4B1BEE-CB9C-4CD0-A15B-966017DCDF94}" destId="{8ACE135F-C879-47F3-AEDC-96EBCF3CD282}" srcOrd="11" destOrd="0" presId="urn:microsoft.com/office/officeart/2005/8/layout/list1"/>
    <dgm:cxn modelId="{BD20F20A-68B9-4B46-9033-07540DCF02EA}" type="presParOf" srcId="{DF4B1BEE-CB9C-4CD0-A15B-966017DCDF94}" destId="{A3C4214C-7463-4EDD-B96A-CD26A754BFE1}" srcOrd="12" destOrd="0" presId="urn:microsoft.com/office/officeart/2005/8/layout/list1"/>
    <dgm:cxn modelId="{879290CD-8288-40D0-A0CF-6A61CB1E7E9A}" type="presParOf" srcId="{A3C4214C-7463-4EDD-B96A-CD26A754BFE1}" destId="{E51E4192-2FC3-4068-A6A9-13BD4CBD377A}" srcOrd="0" destOrd="0" presId="urn:microsoft.com/office/officeart/2005/8/layout/list1"/>
    <dgm:cxn modelId="{0B56F98D-5E18-4DDB-9EDD-7B1865DF55F7}" type="presParOf" srcId="{A3C4214C-7463-4EDD-B96A-CD26A754BFE1}" destId="{F54D6949-A787-47C0-9EE2-70D6C2ECE530}" srcOrd="1" destOrd="0" presId="urn:microsoft.com/office/officeart/2005/8/layout/list1"/>
    <dgm:cxn modelId="{2F9F5983-377A-4E9D-96B6-BB129B19FA25}" type="presParOf" srcId="{DF4B1BEE-CB9C-4CD0-A15B-966017DCDF94}" destId="{0800E7DB-1F83-4346-AF5F-D724C464931F}" srcOrd="13" destOrd="0" presId="urn:microsoft.com/office/officeart/2005/8/layout/list1"/>
    <dgm:cxn modelId="{DA6DCFF2-4208-4D07-9DF9-D8DE5EC10871}" type="presParOf" srcId="{DF4B1BEE-CB9C-4CD0-A15B-966017DCDF94}" destId="{292AFFDF-B385-401A-95E9-F9B4EE75411D}" srcOrd="14" destOrd="0" presId="urn:microsoft.com/office/officeart/2005/8/layout/list1"/>
    <dgm:cxn modelId="{AA8A0569-7994-42FB-9D18-30E76FD6DA42}" type="presParOf" srcId="{DF4B1BEE-CB9C-4CD0-A15B-966017DCDF94}" destId="{8034BC0B-7CA1-41F6-A688-EB1846181D19}" srcOrd="15" destOrd="0" presId="urn:microsoft.com/office/officeart/2005/8/layout/list1"/>
    <dgm:cxn modelId="{016561B8-0516-4F27-BBF6-A9199EB07CBD}" type="presParOf" srcId="{DF4B1BEE-CB9C-4CD0-A15B-966017DCDF94}" destId="{180F3D02-6A79-4993-81D2-19477E83A7C0}" srcOrd="16" destOrd="0" presId="urn:microsoft.com/office/officeart/2005/8/layout/list1"/>
    <dgm:cxn modelId="{7EECE8B8-8D18-4291-B90C-7464715101B8}" type="presParOf" srcId="{180F3D02-6A79-4993-81D2-19477E83A7C0}" destId="{0AADAA17-5234-4C3D-9F87-BAFF64B56161}" srcOrd="0" destOrd="0" presId="urn:microsoft.com/office/officeart/2005/8/layout/list1"/>
    <dgm:cxn modelId="{0D6BA7B3-5438-485E-8852-28D3BD1B2994}" type="presParOf" srcId="{180F3D02-6A79-4993-81D2-19477E83A7C0}" destId="{9506CF50-375C-439F-9478-A81D22774C05}" srcOrd="1" destOrd="0" presId="urn:microsoft.com/office/officeart/2005/8/layout/list1"/>
    <dgm:cxn modelId="{6170BA05-5E36-4AC3-9CD7-A096577C9626}" type="presParOf" srcId="{DF4B1BEE-CB9C-4CD0-A15B-966017DCDF94}" destId="{C81A7D28-39CF-4958-9948-46B21B2BDD59}" srcOrd="17" destOrd="0" presId="urn:microsoft.com/office/officeart/2005/8/layout/list1"/>
    <dgm:cxn modelId="{A92B3319-7EFA-4714-9B05-F743AE8B0201}" type="presParOf" srcId="{DF4B1BEE-CB9C-4CD0-A15B-966017DCDF94}" destId="{B13B526A-E323-404E-BE99-B12E2689DC3D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42866E0-141B-404D-971B-84227B05F75E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48813D9-3772-4F78-A223-09B7E2AF7192}">
      <dgm:prSet phldrT="[Text]"/>
      <dgm:spPr/>
      <dgm:t>
        <a:bodyPr/>
        <a:lstStyle/>
        <a:p>
          <a:r>
            <a:rPr lang="en-US" altLang="zh-CN" dirty="0" smtClean="0"/>
            <a:t>Whole data set</a:t>
          </a:r>
          <a:endParaRPr lang="zh-CN" altLang="en-US" dirty="0"/>
        </a:p>
      </dgm:t>
    </dgm:pt>
    <dgm:pt modelId="{E3FDCA27-9EAF-4016-AB12-324A228016C5}" type="parTrans" cxnId="{14F66D97-D794-4D1A-8D9A-B0DC4FF8522F}">
      <dgm:prSet/>
      <dgm:spPr/>
      <dgm:t>
        <a:bodyPr/>
        <a:lstStyle/>
        <a:p>
          <a:endParaRPr lang="zh-CN" altLang="en-US"/>
        </a:p>
      </dgm:t>
    </dgm:pt>
    <dgm:pt modelId="{D0FCDCD5-C666-4FEA-9F32-4C5C3A2B4B2F}" type="sibTrans" cxnId="{14F66D97-D794-4D1A-8D9A-B0DC4FF8522F}">
      <dgm:prSet/>
      <dgm:spPr/>
      <dgm:t>
        <a:bodyPr/>
        <a:lstStyle/>
        <a:p>
          <a:r>
            <a:rPr lang="en-US" altLang="zh-CN" dirty="0" smtClean="0"/>
            <a:t>~2G</a:t>
          </a:r>
          <a:endParaRPr lang="zh-CN" altLang="en-US" dirty="0"/>
        </a:p>
      </dgm:t>
    </dgm:pt>
    <dgm:pt modelId="{88E2BA07-4C39-444F-8513-75F5A72E57A8}" type="asst">
      <dgm:prSet phldrT="[Text]"/>
      <dgm:spPr/>
      <dgm:t>
        <a:bodyPr/>
        <a:lstStyle/>
        <a:p>
          <a:r>
            <a:rPr lang="en-US" altLang="zh-CN" dirty="0" smtClean="0"/>
            <a:t>Split into small parts</a:t>
          </a:r>
          <a:endParaRPr lang="zh-CN" altLang="en-US" dirty="0"/>
        </a:p>
      </dgm:t>
    </dgm:pt>
    <dgm:pt modelId="{01CDAF95-1045-44AF-9CDF-E5FB4C79FBA0}" type="parTrans" cxnId="{88D13284-9A0D-4CED-B787-11BE01B42943}">
      <dgm:prSet/>
      <dgm:spPr/>
      <dgm:t>
        <a:bodyPr/>
        <a:lstStyle/>
        <a:p>
          <a:endParaRPr lang="zh-CN" altLang="en-US"/>
        </a:p>
      </dgm:t>
    </dgm:pt>
    <dgm:pt modelId="{E794B448-4CDC-45D3-80DA-34572819A264}" type="sibTrans" cxnId="{88D13284-9A0D-4CED-B787-11BE01B42943}">
      <dgm:prSet/>
      <dgm:spPr/>
      <dgm:t>
        <a:bodyPr/>
        <a:lstStyle/>
        <a:p>
          <a:r>
            <a:rPr lang="en-US" altLang="zh-CN" dirty="0" smtClean="0"/>
            <a:t>50 parts</a:t>
          </a:r>
          <a:endParaRPr lang="zh-CN" altLang="en-US" dirty="0"/>
        </a:p>
      </dgm:t>
    </dgm:pt>
    <dgm:pt modelId="{DE46F0F3-8244-4589-9003-22C98FAC2E3A}">
      <dgm:prSet phldrT="[Text]"/>
      <dgm:spPr/>
      <dgm:t>
        <a:bodyPr/>
        <a:lstStyle/>
        <a:p>
          <a:r>
            <a:rPr lang="en-US" altLang="zh-CN" dirty="0" smtClean="0"/>
            <a:t>part1</a:t>
          </a:r>
          <a:endParaRPr lang="zh-CN" altLang="en-US" dirty="0"/>
        </a:p>
      </dgm:t>
    </dgm:pt>
    <dgm:pt modelId="{906047BE-1ACE-4AE5-8FCF-02FB5D2DC75A}" type="parTrans" cxnId="{E27EC26A-1022-451D-B244-1C92204AD67F}">
      <dgm:prSet/>
      <dgm:spPr/>
      <dgm:t>
        <a:bodyPr/>
        <a:lstStyle/>
        <a:p>
          <a:endParaRPr lang="zh-CN" altLang="en-US"/>
        </a:p>
      </dgm:t>
    </dgm:pt>
    <dgm:pt modelId="{3EED938B-1E75-40AF-BE49-D22692B63283}" type="sibTrans" cxnId="{E27EC26A-1022-451D-B244-1C92204AD67F}">
      <dgm:prSet/>
      <dgm:spPr/>
      <dgm:t>
        <a:bodyPr/>
        <a:lstStyle/>
        <a:p>
          <a:r>
            <a:rPr lang="en-US" altLang="zh-CN" dirty="0" smtClean="0"/>
            <a:t>~10M</a:t>
          </a:r>
          <a:endParaRPr lang="zh-CN" altLang="en-US" dirty="0"/>
        </a:p>
      </dgm:t>
    </dgm:pt>
    <dgm:pt modelId="{80BC912B-637D-49A6-AA78-25BCC5C9CB6F}">
      <dgm:prSet phldrT="[Text]"/>
      <dgm:spPr/>
      <dgm:t>
        <a:bodyPr/>
        <a:lstStyle/>
        <a:p>
          <a:r>
            <a:rPr lang="en-US" altLang="zh-CN" dirty="0" smtClean="0"/>
            <a:t>part2</a:t>
          </a:r>
          <a:endParaRPr lang="zh-CN" altLang="en-US" dirty="0"/>
        </a:p>
      </dgm:t>
    </dgm:pt>
    <dgm:pt modelId="{D6E5492D-DB9F-4EC4-B6B7-897383E50452}" type="parTrans" cxnId="{33F9D42B-49F9-4814-B590-9684524A59CB}">
      <dgm:prSet/>
      <dgm:spPr/>
      <dgm:t>
        <a:bodyPr/>
        <a:lstStyle/>
        <a:p>
          <a:endParaRPr lang="zh-CN" altLang="en-US"/>
        </a:p>
      </dgm:t>
    </dgm:pt>
    <dgm:pt modelId="{3E16554C-2430-4187-9DC7-A16950AB6AAF}" type="sibTrans" cxnId="{33F9D42B-49F9-4814-B590-9684524A59CB}">
      <dgm:prSet/>
      <dgm:spPr/>
      <dgm:t>
        <a:bodyPr/>
        <a:lstStyle/>
        <a:p>
          <a:r>
            <a:rPr lang="en-US" altLang="zh-CN" dirty="0" smtClean="0"/>
            <a:t>~10M</a:t>
          </a:r>
          <a:endParaRPr lang="zh-CN" altLang="en-US" dirty="0"/>
        </a:p>
      </dgm:t>
    </dgm:pt>
    <dgm:pt modelId="{53D45C3C-5651-4714-A7C5-0072B104AEF5}">
      <dgm:prSet phldrT="[Text]"/>
      <dgm:spPr/>
      <dgm:t>
        <a:bodyPr/>
        <a:lstStyle/>
        <a:p>
          <a:r>
            <a:rPr lang="en-US" altLang="zh-CN" dirty="0" smtClean="0"/>
            <a:t>Part…</a:t>
          </a:r>
          <a:endParaRPr lang="zh-CN" altLang="en-US" dirty="0"/>
        </a:p>
      </dgm:t>
    </dgm:pt>
    <dgm:pt modelId="{1AFCC709-F8D8-4ECD-991A-FB653B17112C}" type="parTrans" cxnId="{849B8726-7DCF-42F6-9C7F-4A9C7720EE40}">
      <dgm:prSet/>
      <dgm:spPr/>
      <dgm:t>
        <a:bodyPr/>
        <a:lstStyle/>
        <a:p>
          <a:endParaRPr lang="zh-CN" altLang="en-US"/>
        </a:p>
      </dgm:t>
    </dgm:pt>
    <dgm:pt modelId="{65478D2A-0259-4D34-9FA6-F9F91ED33ECE}" type="sibTrans" cxnId="{849B8726-7DCF-42F6-9C7F-4A9C7720EE40}">
      <dgm:prSet/>
      <dgm:spPr/>
      <dgm:t>
        <a:bodyPr/>
        <a:lstStyle/>
        <a:p>
          <a:r>
            <a:rPr lang="en-US" altLang="zh-CN" dirty="0" smtClean="0"/>
            <a:t>~10M</a:t>
          </a:r>
          <a:endParaRPr lang="zh-CN" altLang="en-US" dirty="0"/>
        </a:p>
      </dgm:t>
    </dgm:pt>
    <dgm:pt modelId="{EB490767-67F9-48C8-B41F-2F42A504C391}">
      <dgm:prSet/>
      <dgm:spPr/>
      <dgm:t>
        <a:bodyPr/>
        <a:lstStyle/>
        <a:p>
          <a:r>
            <a:rPr lang="en-US" altLang="zh-CN" dirty="0" smtClean="0"/>
            <a:t>part49</a:t>
          </a:r>
          <a:endParaRPr lang="zh-CN" altLang="en-US" dirty="0"/>
        </a:p>
      </dgm:t>
    </dgm:pt>
    <dgm:pt modelId="{3A764899-9086-4F7C-8BDD-2031663E39AF}" type="parTrans" cxnId="{0C255A72-B543-41CA-ACB0-9F1543EF195B}">
      <dgm:prSet/>
      <dgm:spPr/>
      <dgm:t>
        <a:bodyPr/>
        <a:lstStyle/>
        <a:p>
          <a:endParaRPr lang="zh-CN" altLang="en-US"/>
        </a:p>
      </dgm:t>
    </dgm:pt>
    <dgm:pt modelId="{6948C04D-A97D-4DEE-9B77-59F1AA17D3E4}" type="sibTrans" cxnId="{0C255A72-B543-41CA-ACB0-9F1543EF195B}">
      <dgm:prSet/>
      <dgm:spPr/>
      <dgm:t>
        <a:bodyPr/>
        <a:lstStyle/>
        <a:p>
          <a:r>
            <a:rPr lang="en-US" altLang="zh-CN" dirty="0" smtClean="0"/>
            <a:t>~10M</a:t>
          </a:r>
          <a:endParaRPr lang="zh-CN" altLang="en-US" dirty="0"/>
        </a:p>
      </dgm:t>
    </dgm:pt>
    <dgm:pt modelId="{5EFE1C3D-F4F8-4784-9B57-AF3FB5CCAB4D}">
      <dgm:prSet/>
      <dgm:spPr/>
      <dgm:t>
        <a:bodyPr/>
        <a:lstStyle/>
        <a:p>
          <a:r>
            <a:rPr lang="en-US" altLang="zh-CN" dirty="0" smtClean="0"/>
            <a:t>part50</a:t>
          </a:r>
          <a:endParaRPr lang="zh-CN" altLang="en-US" dirty="0"/>
        </a:p>
      </dgm:t>
    </dgm:pt>
    <dgm:pt modelId="{2409D872-4F9F-4097-9FC8-8FA8D59B36F1}" type="parTrans" cxnId="{99CDAF5D-A562-4B4E-9EF3-CB264A99BC25}">
      <dgm:prSet/>
      <dgm:spPr/>
      <dgm:t>
        <a:bodyPr/>
        <a:lstStyle/>
        <a:p>
          <a:endParaRPr lang="zh-CN" altLang="en-US"/>
        </a:p>
      </dgm:t>
    </dgm:pt>
    <dgm:pt modelId="{081AE97C-9A8A-4B47-9798-E509BBEC0680}" type="sibTrans" cxnId="{99CDAF5D-A562-4B4E-9EF3-CB264A99BC25}">
      <dgm:prSet/>
      <dgm:spPr/>
      <dgm:t>
        <a:bodyPr/>
        <a:lstStyle/>
        <a:p>
          <a:r>
            <a:rPr lang="en-US" altLang="zh-CN" dirty="0" smtClean="0"/>
            <a:t>~10M</a:t>
          </a:r>
          <a:endParaRPr lang="zh-CN" altLang="en-US" dirty="0"/>
        </a:p>
      </dgm:t>
    </dgm:pt>
    <dgm:pt modelId="{1ABB7B8C-A2EB-416C-885D-B944177C3FF3}" type="pres">
      <dgm:prSet presAssocID="{A42866E0-141B-404D-971B-84227B05F75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6587C51A-01DC-4655-8277-A82F1EC8F266}" type="pres">
      <dgm:prSet presAssocID="{A48813D9-3772-4F78-A223-09B7E2AF7192}" presName="hierRoot1" presStyleCnt="0">
        <dgm:presLayoutVars>
          <dgm:hierBranch val="init"/>
        </dgm:presLayoutVars>
      </dgm:prSet>
      <dgm:spPr/>
    </dgm:pt>
    <dgm:pt modelId="{9E77F4BB-01A9-44C6-B34C-8B016F34716F}" type="pres">
      <dgm:prSet presAssocID="{A48813D9-3772-4F78-A223-09B7E2AF7192}" presName="rootComposite1" presStyleCnt="0"/>
      <dgm:spPr/>
    </dgm:pt>
    <dgm:pt modelId="{6B42E5D5-5131-4C9A-9F35-2333E1760F94}" type="pres">
      <dgm:prSet presAssocID="{A48813D9-3772-4F78-A223-09B7E2AF7192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4EB9DCFD-13E0-4EDC-A872-9960D609B7D6}" type="pres">
      <dgm:prSet presAssocID="{A48813D9-3772-4F78-A223-09B7E2AF7192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1549604C-F9F9-4FFB-A86D-88C34226057E}" type="pres">
      <dgm:prSet presAssocID="{A48813D9-3772-4F78-A223-09B7E2AF7192}" presName="rootConnector1" presStyleLbl="node1" presStyleIdx="0" presStyleCnt="5"/>
      <dgm:spPr/>
      <dgm:t>
        <a:bodyPr/>
        <a:lstStyle/>
        <a:p>
          <a:endParaRPr lang="zh-CN" altLang="en-US"/>
        </a:p>
      </dgm:t>
    </dgm:pt>
    <dgm:pt modelId="{89B6BAF4-D710-4063-A366-4D5DC76A9C04}" type="pres">
      <dgm:prSet presAssocID="{A48813D9-3772-4F78-A223-09B7E2AF7192}" presName="hierChild2" presStyleCnt="0"/>
      <dgm:spPr/>
    </dgm:pt>
    <dgm:pt modelId="{15C5AE6F-00AE-482A-8CD3-2804C63CFFF1}" type="pres">
      <dgm:prSet presAssocID="{906047BE-1ACE-4AE5-8FCF-02FB5D2DC75A}" presName="Name37" presStyleLbl="parChTrans1D2" presStyleIdx="0" presStyleCnt="6"/>
      <dgm:spPr/>
      <dgm:t>
        <a:bodyPr/>
        <a:lstStyle/>
        <a:p>
          <a:endParaRPr lang="zh-CN" altLang="en-US"/>
        </a:p>
      </dgm:t>
    </dgm:pt>
    <dgm:pt modelId="{729FFAFF-B057-4EAE-BA2D-031257DE085F}" type="pres">
      <dgm:prSet presAssocID="{DE46F0F3-8244-4589-9003-22C98FAC2E3A}" presName="hierRoot2" presStyleCnt="0">
        <dgm:presLayoutVars>
          <dgm:hierBranch val="init"/>
        </dgm:presLayoutVars>
      </dgm:prSet>
      <dgm:spPr/>
    </dgm:pt>
    <dgm:pt modelId="{627D86B2-0907-4E41-BCF6-F1A8C73AFAF6}" type="pres">
      <dgm:prSet presAssocID="{DE46F0F3-8244-4589-9003-22C98FAC2E3A}" presName="rootComposite" presStyleCnt="0"/>
      <dgm:spPr/>
    </dgm:pt>
    <dgm:pt modelId="{DFA10936-A7A5-4D63-9873-C178A952667A}" type="pres">
      <dgm:prSet presAssocID="{DE46F0F3-8244-4589-9003-22C98FAC2E3A}" presName="rootText" presStyleLbl="node1" presStyleIdx="0" presStyleCnt="5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4C8ECC65-4E52-4568-8DF0-66566BFCF776}" type="pres">
      <dgm:prSet presAssocID="{DE46F0F3-8244-4589-9003-22C98FAC2E3A}" presName="titleText2" presStyleLbl="fgAcc1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34A5830E-1F6C-42EE-BF05-38C06EBE4F2C}" type="pres">
      <dgm:prSet presAssocID="{DE46F0F3-8244-4589-9003-22C98FAC2E3A}" presName="rootConnector" presStyleLbl="node2" presStyleIdx="0" presStyleCnt="0"/>
      <dgm:spPr/>
      <dgm:t>
        <a:bodyPr/>
        <a:lstStyle/>
        <a:p>
          <a:endParaRPr lang="zh-CN" altLang="en-US"/>
        </a:p>
      </dgm:t>
    </dgm:pt>
    <dgm:pt modelId="{FDEB29E7-8F80-435C-AA39-4C024A03DC95}" type="pres">
      <dgm:prSet presAssocID="{DE46F0F3-8244-4589-9003-22C98FAC2E3A}" presName="hierChild4" presStyleCnt="0"/>
      <dgm:spPr/>
    </dgm:pt>
    <dgm:pt modelId="{46AEB44A-46AB-4208-BD3D-80CAD6F577D7}" type="pres">
      <dgm:prSet presAssocID="{DE46F0F3-8244-4589-9003-22C98FAC2E3A}" presName="hierChild5" presStyleCnt="0"/>
      <dgm:spPr/>
    </dgm:pt>
    <dgm:pt modelId="{D2FFC380-44DD-4672-ACF5-55D75EFC0251}" type="pres">
      <dgm:prSet presAssocID="{D6E5492D-DB9F-4EC4-B6B7-897383E50452}" presName="Name37" presStyleLbl="parChTrans1D2" presStyleIdx="1" presStyleCnt="6"/>
      <dgm:spPr/>
      <dgm:t>
        <a:bodyPr/>
        <a:lstStyle/>
        <a:p>
          <a:endParaRPr lang="zh-CN" altLang="en-US"/>
        </a:p>
      </dgm:t>
    </dgm:pt>
    <dgm:pt modelId="{CD0EC14E-BB81-42B4-A686-4D0340F25C98}" type="pres">
      <dgm:prSet presAssocID="{80BC912B-637D-49A6-AA78-25BCC5C9CB6F}" presName="hierRoot2" presStyleCnt="0">
        <dgm:presLayoutVars>
          <dgm:hierBranch val="init"/>
        </dgm:presLayoutVars>
      </dgm:prSet>
      <dgm:spPr/>
    </dgm:pt>
    <dgm:pt modelId="{5CDF5770-66EE-4764-A848-D0BE4179C5F7}" type="pres">
      <dgm:prSet presAssocID="{80BC912B-637D-49A6-AA78-25BCC5C9CB6F}" presName="rootComposite" presStyleCnt="0"/>
      <dgm:spPr/>
    </dgm:pt>
    <dgm:pt modelId="{7BA27F85-B2DD-4717-B590-92E236A56DF9}" type="pres">
      <dgm:prSet presAssocID="{80BC912B-637D-49A6-AA78-25BCC5C9CB6F}" presName="rootText" presStyleLbl="node1" presStyleIdx="1" presStyleCnt="5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24153D7-E157-418C-AABB-EAE018EAF0B6}" type="pres">
      <dgm:prSet presAssocID="{80BC912B-637D-49A6-AA78-25BCC5C9CB6F}" presName="titleText2" presStyleLbl="fgAcc1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44FCA9D1-F22C-45A9-9E57-ABB5ED36C9F3}" type="pres">
      <dgm:prSet presAssocID="{80BC912B-637D-49A6-AA78-25BCC5C9CB6F}" presName="rootConnector" presStyleLbl="node2" presStyleIdx="0" presStyleCnt="0"/>
      <dgm:spPr/>
      <dgm:t>
        <a:bodyPr/>
        <a:lstStyle/>
        <a:p>
          <a:endParaRPr lang="zh-CN" altLang="en-US"/>
        </a:p>
      </dgm:t>
    </dgm:pt>
    <dgm:pt modelId="{5DC917B4-4118-43B2-A05E-046BA996B992}" type="pres">
      <dgm:prSet presAssocID="{80BC912B-637D-49A6-AA78-25BCC5C9CB6F}" presName="hierChild4" presStyleCnt="0"/>
      <dgm:spPr/>
    </dgm:pt>
    <dgm:pt modelId="{8C941624-DCAD-4B12-8838-81AC7795AC40}" type="pres">
      <dgm:prSet presAssocID="{80BC912B-637D-49A6-AA78-25BCC5C9CB6F}" presName="hierChild5" presStyleCnt="0"/>
      <dgm:spPr/>
    </dgm:pt>
    <dgm:pt modelId="{9E161ED7-D3B5-4F96-828D-FE36F29F4FEA}" type="pres">
      <dgm:prSet presAssocID="{1AFCC709-F8D8-4ECD-991A-FB653B17112C}" presName="Name37" presStyleLbl="parChTrans1D2" presStyleIdx="2" presStyleCnt="6"/>
      <dgm:spPr/>
      <dgm:t>
        <a:bodyPr/>
        <a:lstStyle/>
        <a:p>
          <a:endParaRPr lang="zh-CN" altLang="en-US"/>
        </a:p>
      </dgm:t>
    </dgm:pt>
    <dgm:pt modelId="{AE957CA4-06C6-4A22-BF9C-E9FEA00671A8}" type="pres">
      <dgm:prSet presAssocID="{53D45C3C-5651-4714-A7C5-0072B104AEF5}" presName="hierRoot2" presStyleCnt="0">
        <dgm:presLayoutVars>
          <dgm:hierBranch val="init"/>
        </dgm:presLayoutVars>
      </dgm:prSet>
      <dgm:spPr/>
    </dgm:pt>
    <dgm:pt modelId="{C1B90E06-AC98-4407-8873-F4DBD4780A10}" type="pres">
      <dgm:prSet presAssocID="{53D45C3C-5651-4714-A7C5-0072B104AEF5}" presName="rootComposite" presStyleCnt="0"/>
      <dgm:spPr/>
    </dgm:pt>
    <dgm:pt modelId="{29DF6708-CD88-4FAE-A6A0-1D46E848F981}" type="pres">
      <dgm:prSet presAssocID="{53D45C3C-5651-4714-A7C5-0072B104AEF5}" presName="rootText" presStyleLbl="node1" presStyleIdx="2" presStyleCnt="5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035DD44C-4940-441F-BDEE-1E07CADD3E46}" type="pres">
      <dgm:prSet presAssocID="{53D45C3C-5651-4714-A7C5-0072B104AEF5}" presName="titleText2" presStyleLbl="fgAcc1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2316EDAB-EB3E-4409-AF55-B7B6D2387E11}" type="pres">
      <dgm:prSet presAssocID="{53D45C3C-5651-4714-A7C5-0072B104AEF5}" presName="rootConnector" presStyleLbl="node2" presStyleIdx="0" presStyleCnt="0"/>
      <dgm:spPr/>
      <dgm:t>
        <a:bodyPr/>
        <a:lstStyle/>
        <a:p>
          <a:endParaRPr lang="zh-CN" altLang="en-US"/>
        </a:p>
      </dgm:t>
    </dgm:pt>
    <dgm:pt modelId="{002F67ED-4F16-4490-90A7-91E2868942B8}" type="pres">
      <dgm:prSet presAssocID="{53D45C3C-5651-4714-A7C5-0072B104AEF5}" presName="hierChild4" presStyleCnt="0"/>
      <dgm:spPr/>
    </dgm:pt>
    <dgm:pt modelId="{E3353A2C-5CA1-42B0-ABBA-69CCB38691D3}" type="pres">
      <dgm:prSet presAssocID="{53D45C3C-5651-4714-A7C5-0072B104AEF5}" presName="hierChild5" presStyleCnt="0"/>
      <dgm:spPr/>
    </dgm:pt>
    <dgm:pt modelId="{B0AE3D3E-3FDC-4EA9-A8C9-18AE04F4E6F0}" type="pres">
      <dgm:prSet presAssocID="{3A764899-9086-4F7C-8BDD-2031663E39AF}" presName="Name37" presStyleLbl="parChTrans1D2" presStyleIdx="3" presStyleCnt="6"/>
      <dgm:spPr/>
      <dgm:t>
        <a:bodyPr/>
        <a:lstStyle/>
        <a:p>
          <a:endParaRPr lang="zh-CN" altLang="en-US"/>
        </a:p>
      </dgm:t>
    </dgm:pt>
    <dgm:pt modelId="{B922980C-1F3B-482A-8335-52B31C9AA8CA}" type="pres">
      <dgm:prSet presAssocID="{EB490767-67F9-48C8-B41F-2F42A504C391}" presName="hierRoot2" presStyleCnt="0">
        <dgm:presLayoutVars>
          <dgm:hierBranch val="init"/>
        </dgm:presLayoutVars>
      </dgm:prSet>
      <dgm:spPr/>
    </dgm:pt>
    <dgm:pt modelId="{E6795100-6DF4-4F55-AE2B-5982220DED84}" type="pres">
      <dgm:prSet presAssocID="{EB490767-67F9-48C8-B41F-2F42A504C391}" presName="rootComposite" presStyleCnt="0"/>
      <dgm:spPr/>
    </dgm:pt>
    <dgm:pt modelId="{98630F2D-523C-49E2-B54F-D1FE62688F00}" type="pres">
      <dgm:prSet presAssocID="{EB490767-67F9-48C8-B41F-2F42A504C391}" presName="rootText" presStyleLbl="node1" presStyleIdx="3" presStyleCnt="5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D5C95AE-98C5-4301-BCEE-15408D585B3C}" type="pres">
      <dgm:prSet presAssocID="{EB490767-67F9-48C8-B41F-2F42A504C391}" presName="titleText2" presStyleLbl="fgAcc1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DD6E122C-BA13-465D-9FD9-6D5F44E72794}" type="pres">
      <dgm:prSet presAssocID="{EB490767-67F9-48C8-B41F-2F42A504C391}" presName="rootConnector" presStyleLbl="node2" presStyleIdx="0" presStyleCnt="0"/>
      <dgm:spPr/>
      <dgm:t>
        <a:bodyPr/>
        <a:lstStyle/>
        <a:p>
          <a:endParaRPr lang="zh-CN" altLang="en-US"/>
        </a:p>
      </dgm:t>
    </dgm:pt>
    <dgm:pt modelId="{B2D827A1-37FF-4922-89D0-C20AF6830059}" type="pres">
      <dgm:prSet presAssocID="{EB490767-67F9-48C8-B41F-2F42A504C391}" presName="hierChild4" presStyleCnt="0"/>
      <dgm:spPr/>
    </dgm:pt>
    <dgm:pt modelId="{EDC9E3A7-E32B-4510-B0C4-973801995C18}" type="pres">
      <dgm:prSet presAssocID="{EB490767-67F9-48C8-B41F-2F42A504C391}" presName="hierChild5" presStyleCnt="0"/>
      <dgm:spPr/>
    </dgm:pt>
    <dgm:pt modelId="{0090EBBC-ECC9-4DC5-B4FA-91A44968B7CF}" type="pres">
      <dgm:prSet presAssocID="{2409D872-4F9F-4097-9FC8-8FA8D59B36F1}" presName="Name37" presStyleLbl="parChTrans1D2" presStyleIdx="4" presStyleCnt="6"/>
      <dgm:spPr/>
      <dgm:t>
        <a:bodyPr/>
        <a:lstStyle/>
        <a:p>
          <a:endParaRPr lang="zh-CN" altLang="en-US"/>
        </a:p>
      </dgm:t>
    </dgm:pt>
    <dgm:pt modelId="{EF9E5805-BA88-4571-AB8A-34AA0E6FD185}" type="pres">
      <dgm:prSet presAssocID="{5EFE1C3D-F4F8-4784-9B57-AF3FB5CCAB4D}" presName="hierRoot2" presStyleCnt="0">
        <dgm:presLayoutVars>
          <dgm:hierBranch val="init"/>
        </dgm:presLayoutVars>
      </dgm:prSet>
      <dgm:spPr/>
    </dgm:pt>
    <dgm:pt modelId="{EADCF1C8-4863-4BC1-8953-753895882EFB}" type="pres">
      <dgm:prSet presAssocID="{5EFE1C3D-F4F8-4784-9B57-AF3FB5CCAB4D}" presName="rootComposite" presStyleCnt="0"/>
      <dgm:spPr/>
    </dgm:pt>
    <dgm:pt modelId="{4BCFA70B-0E38-442D-811B-FC8D77ED26F2}" type="pres">
      <dgm:prSet presAssocID="{5EFE1C3D-F4F8-4784-9B57-AF3FB5CCAB4D}" presName="rootText" presStyleLbl="node1" presStyleIdx="4" presStyleCnt="5">
        <dgm:presLayoutVars>
          <dgm:chMax/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15DA89A0-29BE-4746-B70B-67742D3A694C}" type="pres">
      <dgm:prSet presAssocID="{5EFE1C3D-F4F8-4784-9B57-AF3FB5CCAB4D}" presName="titleText2" presStyleLbl="fgAcc1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CD63BC64-D8B4-4758-ACF3-259379169EF7}" type="pres">
      <dgm:prSet presAssocID="{5EFE1C3D-F4F8-4784-9B57-AF3FB5CCAB4D}" presName="rootConnector" presStyleLbl="node2" presStyleIdx="0" presStyleCnt="0"/>
      <dgm:spPr/>
      <dgm:t>
        <a:bodyPr/>
        <a:lstStyle/>
        <a:p>
          <a:endParaRPr lang="zh-CN" altLang="en-US"/>
        </a:p>
      </dgm:t>
    </dgm:pt>
    <dgm:pt modelId="{2F3DD359-CAD8-4E03-B458-1CF9069E0A62}" type="pres">
      <dgm:prSet presAssocID="{5EFE1C3D-F4F8-4784-9B57-AF3FB5CCAB4D}" presName="hierChild4" presStyleCnt="0"/>
      <dgm:spPr/>
    </dgm:pt>
    <dgm:pt modelId="{67A42A5F-62F1-4E99-933A-973B1A6489F5}" type="pres">
      <dgm:prSet presAssocID="{5EFE1C3D-F4F8-4784-9B57-AF3FB5CCAB4D}" presName="hierChild5" presStyleCnt="0"/>
      <dgm:spPr/>
    </dgm:pt>
    <dgm:pt modelId="{8855649E-1303-48E2-B50E-96FF71808258}" type="pres">
      <dgm:prSet presAssocID="{A48813D9-3772-4F78-A223-09B7E2AF7192}" presName="hierChild3" presStyleCnt="0"/>
      <dgm:spPr/>
    </dgm:pt>
    <dgm:pt modelId="{18DB3302-DEA6-4008-A52B-2B565AEE1369}" type="pres">
      <dgm:prSet presAssocID="{01CDAF95-1045-44AF-9CDF-E5FB4C79FBA0}" presName="Name96" presStyleLbl="parChTrans1D2" presStyleIdx="5" presStyleCnt="6"/>
      <dgm:spPr/>
      <dgm:t>
        <a:bodyPr/>
        <a:lstStyle/>
        <a:p>
          <a:endParaRPr lang="zh-CN" altLang="en-US"/>
        </a:p>
      </dgm:t>
    </dgm:pt>
    <dgm:pt modelId="{B19B267D-AEA5-455F-BCD7-8F2F95220572}" type="pres">
      <dgm:prSet presAssocID="{88E2BA07-4C39-444F-8513-75F5A72E57A8}" presName="hierRoot3" presStyleCnt="0">
        <dgm:presLayoutVars>
          <dgm:hierBranch val="init"/>
        </dgm:presLayoutVars>
      </dgm:prSet>
      <dgm:spPr/>
    </dgm:pt>
    <dgm:pt modelId="{05A85763-891C-472F-8A89-BED8776F900C}" type="pres">
      <dgm:prSet presAssocID="{88E2BA07-4C39-444F-8513-75F5A72E57A8}" presName="rootComposite3" presStyleCnt="0"/>
      <dgm:spPr/>
    </dgm:pt>
    <dgm:pt modelId="{20C73A81-B08B-47CA-8D8A-2BA13EE2487D}" type="pres">
      <dgm:prSet presAssocID="{88E2BA07-4C39-444F-8513-75F5A72E57A8}" presName="rootText3" presStyleLbl="asst1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CC2EF529-F038-42D5-AB35-6E270BBA6F9B}" type="pres">
      <dgm:prSet presAssocID="{88E2BA07-4C39-444F-8513-75F5A72E57A8}" presName="titleText3" presStyleLbl="fgAcc2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  <dgm:pt modelId="{EAEFEA4E-276B-4D5E-873A-1BCDB2B40DFD}" type="pres">
      <dgm:prSet presAssocID="{88E2BA07-4C39-444F-8513-75F5A72E57A8}" presName="rootConnector3" presStyleLbl="asst1" presStyleIdx="0" presStyleCnt="1"/>
      <dgm:spPr/>
      <dgm:t>
        <a:bodyPr/>
        <a:lstStyle/>
        <a:p>
          <a:endParaRPr lang="zh-CN" altLang="en-US"/>
        </a:p>
      </dgm:t>
    </dgm:pt>
    <dgm:pt modelId="{A58AB5E9-52D6-4B63-A4B3-BC9B9FF9282C}" type="pres">
      <dgm:prSet presAssocID="{88E2BA07-4C39-444F-8513-75F5A72E57A8}" presName="hierChild6" presStyleCnt="0"/>
      <dgm:spPr/>
    </dgm:pt>
    <dgm:pt modelId="{D13FC933-7B10-4ADC-AF69-D592F4D2B7DE}" type="pres">
      <dgm:prSet presAssocID="{88E2BA07-4C39-444F-8513-75F5A72E57A8}" presName="hierChild7" presStyleCnt="0"/>
      <dgm:spPr/>
    </dgm:pt>
  </dgm:ptLst>
  <dgm:cxnLst>
    <dgm:cxn modelId="{CE0A79D2-B430-4F9E-91CB-CEA1E9C51E13}" type="presOf" srcId="{906047BE-1ACE-4AE5-8FCF-02FB5D2DC75A}" destId="{15C5AE6F-00AE-482A-8CD3-2804C63CFFF1}" srcOrd="0" destOrd="0" presId="urn:microsoft.com/office/officeart/2008/layout/NameandTitleOrganizationalChart"/>
    <dgm:cxn modelId="{0039B6CB-949A-4F36-AB41-28FDA60CE68A}" type="presOf" srcId="{5EFE1C3D-F4F8-4784-9B57-AF3FB5CCAB4D}" destId="{4BCFA70B-0E38-442D-811B-FC8D77ED26F2}" srcOrd="0" destOrd="0" presId="urn:microsoft.com/office/officeart/2008/layout/NameandTitleOrganizationalChart"/>
    <dgm:cxn modelId="{4C28E60C-E5C8-45AD-8AC6-8DC1D5E8B6D7}" type="presOf" srcId="{53D45C3C-5651-4714-A7C5-0072B104AEF5}" destId="{29DF6708-CD88-4FAE-A6A0-1D46E848F981}" srcOrd="0" destOrd="0" presId="urn:microsoft.com/office/officeart/2008/layout/NameandTitleOrganizationalChart"/>
    <dgm:cxn modelId="{99CDAF5D-A562-4B4E-9EF3-CB264A99BC25}" srcId="{A48813D9-3772-4F78-A223-09B7E2AF7192}" destId="{5EFE1C3D-F4F8-4784-9B57-AF3FB5CCAB4D}" srcOrd="5" destOrd="0" parTransId="{2409D872-4F9F-4097-9FC8-8FA8D59B36F1}" sibTransId="{081AE97C-9A8A-4B47-9798-E509BBEC0680}"/>
    <dgm:cxn modelId="{0E09E361-64C1-4778-94FD-A3737A4A61A5}" type="presOf" srcId="{3A764899-9086-4F7C-8BDD-2031663E39AF}" destId="{B0AE3D3E-3FDC-4EA9-A8C9-18AE04F4E6F0}" srcOrd="0" destOrd="0" presId="urn:microsoft.com/office/officeart/2008/layout/NameandTitleOrganizationalChart"/>
    <dgm:cxn modelId="{B04A0198-996B-4F85-BE0F-6BAB21910665}" type="presOf" srcId="{DE46F0F3-8244-4589-9003-22C98FAC2E3A}" destId="{DFA10936-A7A5-4D63-9873-C178A952667A}" srcOrd="0" destOrd="0" presId="urn:microsoft.com/office/officeart/2008/layout/NameandTitleOrganizationalChart"/>
    <dgm:cxn modelId="{61F3DB1B-0447-4D0D-84BD-6BCCE9884F88}" type="presOf" srcId="{3EED938B-1E75-40AF-BE49-D22692B63283}" destId="{4C8ECC65-4E52-4568-8DF0-66566BFCF776}" srcOrd="0" destOrd="0" presId="urn:microsoft.com/office/officeart/2008/layout/NameandTitleOrganizationalChart"/>
    <dgm:cxn modelId="{F7936828-E679-44CC-80A4-C7ACB3BF4A02}" type="presOf" srcId="{6948C04D-A97D-4DEE-9B77-59F1AA17D3E4}" destId="{5D5C95AE-98C5-4301-BCEE-15408D585B3C}" srcOrd="0" destOrd="0" presId="urn:microsoft.com/office/officeart/2008/layout/NameandTitleOrganizationalChart"/>
    <dgm:cxn modelId="{E3896474-0196-4BA8-9058-BF7155865538}" type="presOf" srcId="{E794B448-4CDC-45D3-80DA-34572819A264}" destId="{CC2EF529-F038-42D5-AB35-6E270BBA6F9B}" srcOrd="0" destOrd="0" presId="urn:microsoft.com/office/officeart/2008/layout/NameandTitleOrganizationalChart"/>
    <dgm:cxn modelId="{8493B3F4-9D2E-48BC-B6C6-FEFE58AC4507}" type="presOf" srcId="{2409D872-4F9F-4097-9FC8-8FA8D59B36F1}" destId="{0090EBBC-ECC9-4DC5-B4FA-91A44968B7CF}" srcOrd="0" destOrd="0" presId="urn:microsoft.com/office/officeart/2008/layout/NameandTitleOrganizationalChart"/>
    <dgm:cxn modelId="{A6E05269-6722-4501-8481-FC24B3EFDD8E}" type="presOf" srcId="{EB490767-67F9-48C8-B41F-2F42A504C391}" destId="{DD6E122C-BA13-465D-9FD9-6D5F44E72794}" srcOrd="1" destOrd="0" presId="urn:microsoft.com/office/officeart/2008/layout/NameandTitleOrganizationalChart"/>
    <dgm:cxn modelId="{E27EC26A-1022-451D-B244-1C92204AD67F}" srcId="{A48813D9-3772-4F78-A223-09B7E2AF7192}" destId="{DE46F0F3-8244-4589-9003-22C98FAC2E3A}" srcOrd="1" destOrd="0" parTransId="{906047BE-1ACE-4AE5-8FCF-02FB5D2DC75A}" sibTransId="{3EED938B-1E75-40AF-BE49-D22692B63283}"/>
    <dgm:cxn modelId="{0C255A72-B543-41CA-ACB0-9F1543EF195B}" srcId="{A48813D9-3772-4F78-A223-09B7E2AF7192}" destId="{EB490767-67F9-48C8-B41F-2F42A504C391}" srcOrd="4" destOrd="0" parTransId="{3A764899-9086-4F7C-8BDD-2031663E39AF}" sibTransId="{6948C04D-A97D-4DEE-9B77-59F1AA17D3E4}"/>
    <dgm:cxn modelId="{C2F394FF-8829-489F-B7B3-BE9009515047}" type="presOf" srcId="{D0FCDCD5-C666-4FEA-9F32-4C5C3A2B4B2F}" destId="{4EB9DCFD-13E0-4EDC-A872-9960D609B7D6}" srcOrd="0" destOrd="0" presId="urn:microsoft.com/office/officeart/2008/layout/NameandTitleOrganizationalChart"/>
    <dgm:cxn modelId="{88D13284-9A0D-4CED-B787-11BE01B42943}" srcId="{A48813D9-3772-4F78-A223-09B7E2AF7192}" destId="{88E2BA07-4C39-444F-8513-75F5A72E57A8}" srcOrd="0" destOrd="0" parTransId="{01CDAF95-1045-44AF-9CDF-E5FB4C79FBA0}" sibTransId="{E794B448-4CDC-45D3-80DA-34572819A264}"/>
    <dgm:cxn modelId="{B779B809-D9AB-4003-A719-08328B08B07E}" type="presOf" srcId="{80BC912B-637D-49A6-AA78-25BCC5C9CB6F}" destId="{44FCA9D1-F22C-45A9-9E57-ABB5ED36C9F3}" srcOrd="1" destOrd="0" presId="urn:microsoft.com/office/officeart/2008/layout/NameandTitleOrganizationalChart"/>
    <dgm:cxn modelId="{3526F6AA-81AA-4D50-A27B-DC2C2292F93E}" type="presOf" srcId="{88E2BA07-4C39-444F-8513-75F5A72E57A8}" destId="{20C73A81-B08B-47CA-8D8A-2BA13EE2487D}" srcOrd="0" destOrd="0" presId="urn:microsoft.com/office/officeart/2008/layout/NameandTitleOrganizationalChart"/>
    <dgm:cxn modelId="{CB009107-6692-4D98-B040-8F7569DDD883}" type="presOf" srcId="{3E16554C-2430-4187-9DC7-A16950AB6AAF}" destId="{524153D7-E157-418C-AABB-EAE018EAF0B6}" srcOrd="0" destOrd="0" presId="urn:microsoft.com/office/officeart/2008/layout/NameandTitleOrganizationalChart"/>
    <dgm:cxn modelId="{17FE2430-FC7A-4003-AD24-ADA43FBBF95E}" type="presOf" srcId="{1AFCC709-F8D8-4ECD-991A-FB653B17112C}" destId="{9E161ED7-D3B5-4F96-828D-FE36F29F4FEA}" srcOrd="0" destOrd="0" presId="urn:microsoft.com/office/officeart/2008/layout/NameandTitleOrganizationalChart"/>
    <dgm:cxn modelId="{B7677370-F7D0-4787-A6A0-8B329FE517B9}" type="presOf" srcId="{081AE97C-9A8A-4B47-9798-E509BBEC0680}" destId="{15DA89A0-29BE-4746-B70B-67742D3A694C}" srcOrd="0" destOrd="0" presId="urn:microsoft.com/office/officeart/2008/layout/NameandTitleOrganizationalChart"/>
    <dgm:cxn modelId="{B19A2B6E-9E56-488A-B219-08833EC377B4}" type="presOf" srcId="{65478D2A-0259-4D34-9FA6-F9F91ED33ECE}" destId="{035DD44C-4940-441F-BDEE-1E07CADD3E46}" srcOrd="0" destOrd="0" presId="urn:microsoft.com/office/officeart/2008/layout/NameandTitleOrganizationalChart"/>
    <dgm:cxn modelId="{A6F5C6A1-C21F-4A62-92D7-61D064F6481E}" type="presOf" srcId="{DE46F0F3-8244-4589-9003-22C98FAC2E3A}" destId="{34A5830E-1F6C-42EE-BF05-38C06EBE4F2C}" srcOrd="1" destOrd="0" presId="urn:microsoft.com/office/officeart/2008/layout/NameandTitleOrganizationalChart"/>
    <dgm:cxn modelId="{40CB9436-9EBD-49FE-B4BA-F5E8857B29FF}" type="presOf" srcId="{A42866E0-141B-404D-971B-84227B05F75E}" destId="{1ABB7B8C-A2EB-416C-885D-B944177C3FF3}" srcOrd="0" destOrd="0" presId="urn:microsoft.com/office/officeart/2008/layout/NameandTitleOrganizationalChart"/>
    <dgm:cxn modelId="{33F9D42B-49F9-4814-B590-9684524A59CB}" srcId="{A48813D9-3772-4F78-A223-09B7E2AF7192}" destId="{80BC912B-637D-49A6-AA78-25BCC5C9CB6F}" srcOrd="2" destOrd="0" parTransId="{D6E5492D-DB9F-4EC4-B6B7-897383E50452}" sibTransId="{3E16554C-2430-4187-9DC7-A16950AB6AAF}"/>
    <dgm:cxn modelId="{164540CD-89AF-4D09-B2BD-64B55A2A9FF3}" type="presOf" srcId="{53D45C3C-5651-4714-A7C5-0072B104AEF5}" destId="{2316EDAB-EB3E-4409-AF55-B7B6D2387E11}" srcOrd="1" destOrd="0" presId="urn:microsoft.com/office/officeart/2008/layout/NameandTitleOrganizationalChart"/>
    <dgm:cxn modelId="{325778BC-F5C8-4E33-9326-85206347AA63}" type="presOf" srcId="{01CDAF95-1045-44AF-9CDF-E5FB4C79FBA0}" destId="{18DB3302-DEA6-4008-A52B-2B565AEE1369}" srcOrd="0" destOrd="0" presId="urn:microsoft.com/office/officeart/2008/layout/NameandTitleOrganizationalChart"/>
    <dgm:cxn modelId="{71C32491-FEB4-4E38-AFC0-04AC9621340F}" type="presOf" srcId="{88E2BA07-4C39-444F-8513-75F5A72E57A8}" destId="{EAEFEA4E-276B-4D5E-873A-1BCDB2B40DFD}" srcOrd="1" destOrd="0" presId="urn:microsoft.com/office/officeart/2008/layout/NameandTitleOrganizationalChart"/>
    <dgm:cxn modelId="{19FEE00C-B951-477D-A88C-F40053F983A0}" type="presOf" srcId="{A48813D9-3772-4F78-A223-09B7E2AF7192}" destId="{1549604C-F9F9-4FFB-A86D-88C34226057E}" srcOrd="1" destOrd="0" presId="urn:microsoft.com/office/officeart/2008/layout/NameandTitleOrganizationalChart"/>
    <dgm:cxn modelId="{DBD60CE1-A35E-4F19-B1B0-7B8E829D5915}" type="presOf" srcId="{5EFE1C3D-F4F8-4784-9B57-AF3FB5CCAB4D}" destId="{CD63BC64-D8B4-4758-ACF3-259379169EF7}" srcOrd="1" destOrd="0" presId="urn:microsoft.com/office/officeart/2008/layout/NameandTitleOrganizationalChart"/>
    <dgm:cxn modelId="{1EFB0682-D963-4256-B4AB-D915BEF46830}" type="presOf" srcId="{D6E5492D-DB9F-4EC4-B6B7-897383E50452}" destId="{D2FFC380-44DD-4672-ACF5-55D75EFC0251}" srcOrd="0" destOrd="0" presId="urn:microsoft.com/office/officeart/2008/layout/NameandTitleOrganizationalChart"/>
    <dgm:cxn modelId="{849B8726-7DCF-42F6-9C7F-4A9C7720EE40}" srcId="{A48813D9-3772-4F78-A223-09B7E2AF7192}" destId="{53D45C3C-5651-4714-A7C5-0072B104AEF5}" srcOrd="3" destOrd="0" parTransId="{1AFCC709-F8D8-4ECD-991A-FB653B17112C}" sibTransId="{65478D2A-0259-4D34-9FA6-F9F91ED33ECE}"/>
    <dgm:cxn modelId="{3761B5E6-1853-4613-BD60-EB6B91A68D14}" type="presOf" srcId="{EB490767-67F9-48C8-B41F-2F42A504C391}" destId="{98630F2D-523C-49E2-B54F-D1FE62688F00}" srcOrd="0" destOrd="0" presId="urn:microsoft.com/office/officeart/2008/layout/NameandTitleOrganizationalChart"/>
    <dgm:cxn modelId="{14F66D97-D794-4D1A-8D9A-B0DC4FF8522F}" srcId="{A42866E0-141B-404D-971B-84227B05F75E}" destId="{A48813D9-3772-4F78-A223-09B7E2AF7192}" srcOrd="0" destOrd="0" parTransId="{E3FDCA27-9EAF-4016-AB12-324A228016C5}" sibTransId="{D0FCDCD5-C666-4FEA-9F32-4C5C3A2B4B2F}"/>
    <dgm:cxn modelId="{C5765734-5EF4-4C0E-B96D-0136487C9761}" type="presOf" srcId="{80BC912B-637D-49A6-AA78-25BCC5C9CB6F}" destId="{7BA27F85-B2DD-4717-B590-92E236A56DF9}" srcOrd="0" destOrd="0" presId="urn:microsoft.com/office/officeart/2008/layout/NameandTitleOrganizationalChart"/>
    <dgm:cxn modelId="{A56886D6-8BCE-45A9-BF1A-6E9547A2FDCF}" type="presOf" srcId="{A48813D9-3772-4F78-A223-09B7E2AF7192}" destId="{6B42E5D5-5131-4C9A-9F35-2333E1760F94}" srcOrd="0" destOrd="0" presId="urn:microsoft.com/office/officeart/2008/layout/NameandTitleOrganizationalChart"/>
    <dgm:cxn modelId="{D1B532BC-C93A-4606-B581-E4364518BD68}" type="presParOf" srcId="{1ABB7B8C-A2EB-416C-885D-B944177C3FF3}" destId="{6587C51A-01DC-4655-8277-A82F1EC8F266}" srcOrd="0" destOrd="0" presId="urn:microsoft.com/office/officeart/2008/layout/NameandTitleOrganizationalChart"/>
    <dgm:cxn modelId="{45D61A27-657B-45C4-A112-1CF571B99502}" type="presParOf" srcId="{6587C51A-01DC-4655-8277-A82F1EC8F266}" destId="{9E77F4BB-01A9-44C6-B34C-8B016F34716F}" srcOrd="0" destOrd="0" presId="urn:microsoft.com/office/officeart/2008/layout/NameandTitleOrganizationalChart"/>
    <dgm:cxn modelId="{7218A522-CDC2-4B36-A531-57489145F1F4}" type="presParOf" srcId="{9E77F4BB-01A9-44C6-B34C-8B016F34716F}" destId="{6B42E5D5-5131-4C9A-9F35-2333E1760F94}" srcOrd="0" destOrd="0" presId="urn:microsoft.com/office/officeart/2008/layout/NameandTitleOrganizationalChart"/>
    <dgm:cxn modelId="{0DD7BEB3-11ED-4398-BD8F-1B9100416D7B}" type="presParOf" srcId="{9E77F4BB-01A9-44C6-B34C-8B016F34716F}" destId="{4EB9DCFD-13E0-4EDC-A872-9960D609B7D6}" srcOrd="1" destOrd="0" presId="urn:microsoft.com/office/officeart/2008/layout/NameandTitleOrganizationalChart"/>
    <dgm:cxn modelId="{E598CCC6-C0CF-4B9F-855A-7D1B7280836C}" type="presParOf" srcId="{9E77F4BB-01A9-44C6-B34C-8B016F34716F}" destId="{1549604C-F9F9-4FFB-A86D-88C34226057E}" srcOrd="2" destOrd="0" presId="urn:microsoft.com/office/officeart/2008/layout/NameandTitleOrganizationalChart"/>
    <dgm:cxn modelId="{949E4118-5DE7-49E9-ADFE-5B055AF7CCDE}" type="presParOf" srcId="{6587C51A-01DC-4655-8277-A82F1EC8F266}" destId="{89B6BAF4-D710-4063-A366-4D5DC76A9C04}" srcOrd="1" destOrd="0" presId="urn:microsoft.com/office/officeart/2008/layout/NameandTitleOrganizationalChart"/>
    <dgm:cxn modelId="{ED373CE2-52E8-44EB-B8DA-32F3C61E2DFA}" type="presParOf" srcId="{89B6BAF4-D710-4063-A366-4D5DC76A9C04}" destId="{15C5AE6F-00AE-482A-8CD3-2804C63CFFF1}" srcOrd="0" destOrd="0" presId="urn:microsoft.com/office/officeart/2008/layout/NameandTitleOrganizationalChart"/>
    <dgm:cxn modelId="{EF34DF51-ED38-4BD3-A3E3-B7BA0F874DC2}" type="presParOf" srcId="{89B6BAF4-D710-4063-A366-4D5DC76A9C04}" destId="{729FFAFF-B057-4EAE-BA2D-031257DE085F}" srcOrd="1" destOrd="0" presId="urn:microsoft.com/office/officeart/2008/layout/NameandTitleOrganizationalChart"/>
    <dgm:cxn modelId="{2C8C8FA6-0DBB-4050-A2D9-314398B96DFA}" type="presParOf" srcId="{729FFAFF-B057-4EAE-BA2D-031257DE085F}" destId="{627D86B2-0907-4E41-BCF6-F1A8C73AFAF6}" srcOrd="0" destOrd="0" presId="urn:microsoft.com/office/officeart/2008/layout/NameandTitleOrganizationalChart"/>
    <dgm:cxn modelId="{D2A7AF29-513A-4A09-922F-A800DA1CD8A5}" type="presParOf" srcId="{627D86B2-0907-4E41-BCF6-F1A8C73AFAF6}" destId="{DFA10936-A7A5-4D63-9873-C178A952667A}" srcOrd="0" destOrd="0" presId="urn:microsoft.com/office/officeart/2008/layout/NameandTitleOrganizationalChart"/>
    <dgm:cxn modelId="{ABF633EC-B2CE-49A2-9719-C4F04ECE508D}" type="presParOf" srcId="{627D86B2-0907-4E41-BCF6-F1A8C73AFAF6}" destId="{4C8ECC65-4E52-4568-8DF0-66566BFCF776}" srcOrd="1" destOrd="0" presId="urn:microsoft.com/office/officeart/2008/layout/NameandTitleOrganizationalChart"/>
    <dgm:cxn modelId="{F465EE23-94EE-4435-874A-2233378CB7A2}" type="presParOf" srcId="{627D86B2-0907-4E41-BCF6-F1A8C73AFAF6}" destId="{34A5830E-1F6C-42EE-BF05-38C06EBE4F2C}" srcOrd="2" destOrd="0" presId="urn:microsoft.com/office/officeart/2008/layout/NameandTitleOrganizationalChart"/>
    <dgm:cxn modelId="{48BF890E-CFA7-46AC-96D5-35DF079E5FEE}" type="presParOf" srcId="{729FFAFF-B057-4EAE-BA2D-031257DE085F}" destId="{FDEB29E7-8F80-435C-AA39-4C024A03DC95}" srcOrd="1" destOrd="0" presId="urn:microsoft.com/office/officeart/2008/layout/NameandTitleOrganizationalChart"/>
    <dgm:cxn modelId="{71EC2C71-5C6C-44A0-B374-EC653EE8BE06}" type="presParOf" srcId="{729FFAFF-B057-4EAE-BA2D-031257DE085F}" destId="{46AEB44A-46AB-4208-BD3D-80CAD6F577D7}" srcOrd="2" destOrd="0" presId="urn:microsoft.com/office/officeart/2008/layout/NameandTitleOrganizationalChart"/>
    <dgm:cxn modelId="{C05ECA0C-B6D0-47C2-B995-7A08F6738EB2}" type="presParOf" srcId="{89B6BAF4-D710-4063-A366-4D5DC76A9C04}" destId="{D2FFC380-44DD-4672-ACF5-55D75EFC0251}" srcOrd="2" destOrd="0" presId="urn:microsoft.com/office/officeart/2008/layout/NameandTitleOrganizationalChart"/>
    <dgm:cxn modelId="{A7D4421F-52A4-469B-8181-E414F3960E70}" type="presParOf" srcId="{89B6BAF4-D710-4063-A366-4D5DC76A9C04}" destId="{CD0EC14E-BB81-42B4-A686-4D0340F25C98}" srcOrd="3" destOrd="0" presId="urn:microsoft.com/office/officeart/2008/layout/NameandTitleOrganizationalChart"/>
    <dgm:cxn modelId="{CB8F76DF-7A3F-45B4-9A12-FC78892919B1}" type="presParOf" srcId="{CD0EC14E-BB81-42B4-A686-4D0340F25C98}" destId="{5CDF5770-66EE-4764-A848-D0BE4179C5F7}" srcOrd="0" destOrd="0" presId="urn:microsoft.com/office/officeart/2008/layout/NameandTitleOrganizationalChart"/>
    <dgm:cxn modelId="{05969629-1038-4987-B40C-0AD15F2426EA}" type="presParOf" srcId="{5CDF5770-66EE-4764-A848-D0BE4179C5F7}" destId="{7BA27F85-B2DD-4717-B590-92E236A56DF9}" srcOrd="0" destOrd="0" presId="urn:microsoft.com/office/officeart/2008/layout/NameandTitleOrganizationalChart"/>
    <dgm:cxn modelId="{EA4F25BB-07FA-4189-83BC-5FA9CE175636}" type="presParOf" srcId="{5CDF5770-66EE-4764-A848-D0BE4179C5F7}" destId="{524153D7-E157-418C-AABB-EAE018EAF0B6}" srcOrd="1" destOrd="0" presId="urn:microsoft.com/office/officeart/2008/layout/NameandTitleOrganizationalChart"/>
    <dgm:cxn modelId="{433535B9-FFA7-4CD7-8998-EE41958F7164}" type="presParOf" srcId="{5CDF5770-66EE-4764-A848-D0BE4179C5F7}" destId="{44FCA9D1-F22C-45A9-9E57-ABB5ED36C9F3}" srcOrd="2" destOrd="0" presId="urn:microsoft.com/office/officeart/2008/layout/NameandTitleOrganizationalChart"/>
    <dgm:cxn modelId="{3812CF1F-36C5-4C99-907A-A2BF616C7C45}" type="presParOf" srcId="{CD0EC14E-BB81-42B4-A686-4D0340F25C98}" destId="{5DC917B4-4118-43B2-A05E-046BA996B992}" srcOrd="1" destOrd="0" presId="urn:microsoft.com/office/officeart/2008/layout/NameandTitleOrganizationalChart"/>
    <dgm:cxn modelId="{6CDE0DCC-6CE7-4110-B5AC-A129D11439EA}" type="presParOf" srcId="{CD0EC14E-BB81-42B4-A686-4D0340F25C98}" destId="{8C941624-DCAD-4B12-8838-81AC7795AC40}" srcOrd="2" destOrd="0" presId="urn:microsoft.com/office/officeart/2008/layout/NameandTitleOrganizationalChart"/>
    <dgm:cxn modelId="{D430E37C-2343-4A22-9CB7-0DFBB2EFE165}" type="presParOf" srcId="{89B6BAF4-D710-4063-A366-4D5DC76A9C04}" destId="{9E161ED7-D3B5-4F96-828D-FE36F29F4FEA}" srcOrd="4" destOrd="0" presId="urn:microsoft.com/office/officeart/2008/layout/NameandTitleOrganizationalChart"/>
    <dgm:cxn modelId="{4FFCB8D8-64DC-4EB2-9F2D-057E08771787}" type="presParOf" srcId="{89B6BAF4-D710-4063-A366-4D5DC76A9C04}" destId="{AE957CA4-06C6-4A22-BF9C-E9FEA00671A8}" srcOrd="5" destOrd="0" presId="urn:microsoft.com/office/officeart/2008/layout/NameandTitleOrganizationalChart"/>
    <dgm:cxn modelId="{83D4C9F6-8A50-4AB2-8F54-6E1E9236D3BD}" type="presParOf" srcId="{AE957CA4-06C6-4A22-BF9C-E9FEA00671A8}" destId="{C1B90E06-AC98-4407-8873-F4DBD4780A10}" srcOrd="0" destOrd="0" presId="urn:microsoft.com/office/officeart/2008/layout/NameandTitleOrganizationalChart"/>
    <dgm:cxn modelId="{464D0669-D12C-42D4-B1F9-2D58004E7ACC}" type="presParOf" srcId="{C1B90E06-AC98-4407-8873-F4DBD4780A10}" destId="{29DF6708-CD88-4FAE-A6A0-1D46E848F981}" srcOrd="0" destOrd="0" presId="urn:microsoft.com/office/officeart/2008/layout/NameandTitleOrganizationalChart"/>
    <dgm:cxn modelId="{235B035E-2671-4685-9F41-1E4BC3205C8E}" type="presParOf" srcId="{C1B90E06-AC98-4407-8873-F4DBD4780A10}" destId="{035DD44C-4940-441F-BDEE-1E07CADD3E46}" srcOrd="1" destOrd="0" presId="urn:microsoft.com/office/officeart/2008/layout/NameandTitleOrganizationalChart"/>
    <dgm:cxn modelId="{5CFF2033-A922-460D-86BA-CC31C7567F4B}" type="presParOf" srcId="{C1B90E06-AC98-4407-8873-F4DBD4780A10}" destId="{2316EDAB-EB3E-4409-AF55-B7B6D2387E11}" srcOrd="2" destOrd="0" presId="urn:microsoft.com/office/officeart/2008/layout/NameandTitleOrganizationalChart"/>
    <dgm:cxn modelId="{48C7265A-A973-4911-B422-6A34F80B6461}" type="presParOf" srcId="{AE957CA4-06C6-4A22-BF9C-E9FEA00671A8}" destId="{002F67ED-4F16-4490-90A7-91E2868942B8}" srcOrd="1" destOrd="0" presId="urn:microsoft.com/office/officeart/2008/layout/NameandTitleOrganizationalChart"/>
    <dgm:cxn modelId="{CA4F50FF-D414-4375-8CAC-C7F4A4E439E5}" type="presParOf" srcId="{AE957CA4-06C6-4A22-BF9C-E9FEA00671A8}" destId="{E3353A2C-5CA1-42B0-ABBA-69CCB38691D3}" srcOrd="2" destOrd="0" presId="urn:microsoft.com/office/officeart/2008/layout/NameandTitleOrganizationalChart"/>
    <dgm:cxn modelId="{8F14834B-D308-4729-B478-6E96B4611441}" type="presParOf" srcId="{89B6BAF4-D710-4063-A366-4D5DC76A9C04}" destId="{B0AE3D3E-3FDC-4EA9-A8C9-18AE04F4E6F0}" srcOrd="6" destOrd="0" presId="urn:microsoft.com/office/officeart/2008/layout/NameandTitleOrganizationalChart"/>
    <dgm:cxn modelId="{FB5B455F-ECBB-48B6-9CBF-39AB021E00D8}" type="presParOf" srcId="{89B6BAF4-D710-4063-A366-4D5DC76A9C04}" destId="{B922980C-1F3B-482A-8335-52B31C9AA8CA}" srcOrd="7" destOrd="0" presId="urn:microsoft.com/office/officeart/2008/layout/NameandTitleOrganizationalChart"/>
    <dgm:cxn modelId="{AAB5C166-5737-47F3-8894-DA1485214A9D}" type="presParOf" srcId="{B922980C-1F3B-482A-8335-52B31C9AA8CA}" destId="{E6795100-6DF4-4F55-AE2B-5982220DED84}" srcOrd="0" destOrd="0" presId="urn:microsoft.com/office/officeart/2008/layout/NameandTitleOrganizationalChart"/>
    <dgm:cxn modelId="{0758E9BF-1AEB-4CFD-83E1-851219B6228F}" type="presParOf" srcId="{E6795100-6DF4-4F55-AE2B-5982220DED84}" destId="{98630F2D-523C-49E2-B54F-D1FE62688F00}" srcOrd="0" destOrd="0" presId="urn:microsoft.com/office/officeart/2008/layout/NameandTitleOrganizationalChart"/>
    <dgm:cxn modelId="{A3A4F44E-0CBD-4431-8702-8A2108482D16}" type="presParOf" srcId="{E6795100-6DF4-4F55-AE2B-5982220DED84}" destId="{5D5C95AE-98C5-4301-BCEE-15408D585B3C}" srcOrd="1" destOrd="0" presId="urn:microsoft.com/office/officeart/2008/layout/NameandTitleOrganizationalChart"/>
    <dgm:cxn modelId="{98DB253B-ADDE-49FC-B05A-BF025DDBCB6B}" type="presParOf" srcId="{E6795100-6DF4-4F55-AE2B-5982220DED84}" destId="{DD6E122C-BA13-465D-9FD9-6D5F44E72794}" srcOrd="2" destOrd="0" presId="urn:microsoft.com/office/officeart/2008/layout/NameandTitleOrganizationalChart"/>
    <dgm:cxn modelId="{FD58CF0F-2BB1-40CA-BC8E-5A647BC59F51}" type="presParOf" srcId="{B922980C-1F3B-482A-8335-52B31C9AA8CA}" destId="{B2D827A1-37FF-4922-89D0-C20AF6830059}" srcOrd="1" destOrd="0" presId="urn:microsoft.com/office/officeart/2008/layout/NameandTitleOrganizationalChart"/>
    <dgm:cxn modelId="{CCADF213-C9BB-4468-827B-447CA8339C68}" type="presParOf" srcId="{B922980C-1F3B-482A-8335-52B31C9AA8CA}" destId="{EDC9E3A7-E32B-4510-B0C4-973801995C18}" srcOrd="2" destOrd="0" presId="urn:microsoft.com/office/officeart/2008/layout/NameandTitleOrganizationalChart"/>
    <dgm:cxn modelId="{04897E99-B30A-4108-B431-9329B660BF3B}" type="presParOf" srcId="{89B6BAF4-D710-4063-A366-4D5DC76A9C04}" destId="{0090EBBC-ECC9-4DC5-B4FA-91A44968B7CF}" srcOrd="8" destOrd="0" presId="urn:microsoft.com/office/officeart/2008/layout/NameandTitleOrganizationalChart"/>
    <dgm:cxn modelId="{D3FC6CCB-69E9-4C1F-93C4-39A28BD73978}" type="presParOf" srcId="{89B6BAF4-D710-4063-A366-4D5DC76A9C04}" destId="{EF9E5805-BA88-4571-AB8A-34AA0E6FD185}" srcOrd="9" destOrd="0" presId="urn:microsoft.com/office/officeart/2008/layout/NameandTitleOrganizationalChart"/>
    <dgm:cxn modelId="{EFEF35E5-E460-4DD4-A9A2-58269A7A92E8}" type="presParOf" srcId="{EF9E5805-BA88-4571-AB8A-34AA0E6FD185}" destId="{EADCF1C8-4863-4BC1-8953-753895882EFB}" srcOrd="0" destOrd="0" presId="urn:microsoft.com/office/officeart/2008/layout/NameandTitleOrganizationalChart"/>
    <dgm:cxn modelId="{D2D9BA55-A8DA-4FB4-80C0-AE19BDEAD8F0}" type="presParOf" srcId="{EADCF1C8-4863-4BC1-8953-753895882EFB}" destId="{4BCFA70B-0E38-442D-811B-FC8D77ED26F2}" srcOrd="0" destOrd="0" presId="urn:microsoft.com/office/officeart/2008/layout/NameandTitleOrganizationalChart"/>
    <dgm:cxn modelId="{A07357DE-6D54-4050-A572-4105FC3367B6}" type="presParOf" srcId="{EADCF1C8-4863-4BC1-8953-753895882EFB}" destId="{15DA89A0-29BE-4746-B70B-67742D3A694C}" srcOrd="1" destOrd="0" presId="urn:microsoft.com/office/officeart/2008/layout/NameandTitleOrganizationalChart"/>
    <dgm:cxn modelId="{B94535E1-C4B9-4D50-B827-476A5D5C9F9D}" type="presParOf" srcId="{EADCF1C8-4863-4BC1-8953-753895882EFB}" destId="{CD63BC64-D8B4-4758-ACF3-259379169EF7}" srcOrd="2" destOrd="0" presId="urn:microsoft.com/office/officeart/2008/layout/NameandTitleOrganizationalChart"/>
    <dgm:cxn modelId="{FD988210-EF98-4935-83FC-9152C56B1499}" type="presParOf" srcId="{EF9E5805-BA88-4571-AB8A-34AA0E6FD185}" destId="{2F3DD359-CAD8-4E03-B458-1CF9069E0A62}" srcOrd="1" destOrd="0" presId="urn:microsoft.com/office/officeart/2008/layout/NameandTitleOrganizationalChart"/>
    <dgm:cxn modelId="{D27812F0-B811-4888-B712-72119414ABD9}" type="presParOf" srcId="{EF9E5805-BA88-4571-AB8A-34AA0E6FD185}" destId="{67A42A5F-62F1-4E99-933A-973B1A6489F5}" srcOrd="2" destOrd="0" presId="urn:microsoft.com/office/officeart/2008/layout/NameandTitleOrganizationalChart"/>
    <dgm:cxn modelId="{030769AF-CE13-4DCB-8F5E-15BBD859CBAB}" type="presParOf" srcId="{6587C51A-01DC-4655-8277-A82F1EC8F266}" destId="{8855649E-1303-48E2-B50E-96FF71808258}" srcOrd="2" destOrd="0" presId="urn:microsoft.com/office/officeart/2008/layout/NameandTitleOrganizationalChart"/>
    <dgm:cxn modelId="{C3D3D70A-542D-425D-B7FC-6E53FFA3D434}" type="presParOf" srcId="{8855649E-1303-48E2-B50E-96FF71808258}" destId="{18DB3302-DEA6-4008-A52B-2B565AEE1369}" srcOrd="0" destOrd="0" presId="urn:microsoft.com/office/officeart/2008/layout/NameandTitleOrganizationalChart"/>
    <dgm:cxn modelId="{78EF0384-1A50-41C8-8D74-782C334CE9DE}" type="presParOf" srcId="{8855649E-1303-48E2-B50E-96FF71808258}" destId="{B19B267D-AEA5-455F-BCD7-8F2F95220572}" srcOrd="1" destOrd="0" presId="urn:microsoft.com/office/officeart/2008/layout/NameandTitleOrganizationalChart"/>
    <dgm:cxn modelId="{2EA6E124-849E-4260-80BA-6C48FD538D0C}" type="presParOf" srcId="{B19B267D-AEA5-455F-BCD7-8F2F95220572}" destId="{05A85763-891C-472F-8A89-BED8776F900C}" srcOrd="0" destOrd="0" presId="urn:microsoft.com/office/officeart/2008/layout/NameandTitleOrganizationalChart"/>
    <dgm:cxn modelId="{5F295FDE-C9C2-41D9-B39F-A9BBD8A75DAD}" type="presParOf" srcId="{05A85763-891C-472F-8A89-BED8776F900C}" destId="{20C73A81-B08B-47CA-8D8A-2BA13EE2487D}" srcOrd="0" destOrd="0" presId="urn:microsoft.com/office/officeart/2008/layout/NameandTitleOrganizationalChart"/>
    <dgm:cxn modelId="{0B82515E-4FFD-48BC-AFDE-F90822376730}" type="presParOf" srcId="{05A85763-891C-472F-8A89-BED8776F900C}" destId="{CC2EF529-F038-42D5-AB35-6E270BBA6F9B}" srcOrd="1" destOrd="0" presId="urn:microsoft.com/office/officeart/2008/layout/NameandTitleOrganizationalChart"/>
    <dgm:cxn modelId="{9274716B-BBF3-4EAD-827A-CAEDC1B8BDD1}" type="presParOf" srcId="{05A85763-891C-472F-8A89-BED8776F900C}" destId="{EAEFEA4E-276B-4D5E-873A-1BCDB2B40DFD}" srcOrd="2" destOrd="0" presId="urn:microsoft.com/office/officeart/2008/layout/NameandTitleOrganizationalChart"/>
    <dgm:cxn modelId="{6189763A-D2E8-4915-B560-77DFD73D34BD}" type="presParOf" srcId="{B19B267D-AEA5-455F-BCD7-8F2F95220572}" destId="{A58AB5E9-52D6-4B63-A4B3-BC9B9FF9282C}" srcOrd="1" destOrd="0" presId="urn:microsoft.com/office/officeart/2008/layout/NameandTitleOrganizationalChart"/>
    <dgm:cxn modelId="{1AB8B5DD-CE4C-4C62-A86B-19AD680C042C}" type="presParOf" srcId="{B19B267D-AEA5-455F-BCD7-8F2F95220572}" destId="{D13FC933-7B10-4ADC-AF69-D592F4D2B7DE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A493EC-9E68-4C61-AD3E-71BFA4CB093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5741719-410D-4034-9FD8-334E6A6A7B42}">
      <dgm:prSet phldrT="[Text]"/>
      <dgm:spPr/>
      <dgm:t>
        <a:bodyPr/>
        <a:lstStyle/>
        <a:p>
          <a:r>
            <a:rPr lang="en-US" altLang="zh-CN" dirty="0" smtClean="0"/>
            <a:t>First on a benchmark dataset ~3M</a:t>
          </a:r>
          <a:endParaRPr lang="zh-CN" altLang="en-US" dirty="0"/>
        </a:p>
      </dgm:t>
    </dgm:pt>
    <dgm:pt modelId="{5F9F5CE3-90D7-4298-BB0C-E47BBD02790B}" type="parTrans" cxnId="{D6B13BD1-ADB3-4A52-ABCE-CE7276690E8D}">
      <dgm:prSet/>
      <dgm:spPr/>
      <dgm:t>
        <a:bodyPr/>
        <a:lstStyle/>
        <a:p>
          <a:endParaRPr lang="zh-CN" altLang="en-US"/>
        </a:p>
      </dgm:t>
    </dgm:pt>
    <dgm:pt modelId="{841E5C7C-6761-4F53-882E-B53E70469955}" type="sibTrans" cxnId="{D6B13BD1-ADB3-4A52-ABCE-CE7276690E8D}">
      <dgm:prSet/>
      <dgm:spPr/>
      <dgm:t>
        <a:bodyPr/>
        <a:lstStyle/>
        <a:p>
          <a:endParaRPr lang="zh-CN" altLang="en-US"/>
        </a:p>
      </dgm:t>
    </dgm:pt>
    <dgm:pt modelId="{8C5585C0-871C-436A-BB54-4989C655FDFC}">
      <dgm:prSet phldrT="[Text]"/>
      <dgm:spPr/>
      <dgm:t>
        <a:bodyPr/>
        <a:lstStyle/>
        <a:p>
          <a:r>
            <a:rPr lang="en-US" altLang="zh-CN" dirty="0" smtClean="0"/>
            <a:t>Metric used in performance</a:t>
          </a:r>
          <a:endParaRPr lang="zh-CN" altLang="en-US" dirty="0"/>
        </a:p>
      </dgm:t>
    </dgm:pt>
    <dgm:pt modelId="{217FA2BB-2310-452D-83B8-1BB5CA26B6FD}" type="parTrans" cxnId="{E5B0D5BA-A28A-4FC0-A729-22365C6B71A2}">
      <dgm:prSet/>
      <dgm:spPr/>
      <dgm:t>
        <a:bodyPr/>
        <a:lstStyle/>
        <a:p>
          <a:endParaRPr lang="zh-CN" altLang="en-US"/>
        </a:p>
      </dgm:t>
    </dgm:pt>
    <dgm:pt modelId="{054A93A6-23A8-4042-AA2F-40359F6F69DF}" type="sibTrans" cxnId="{E5B0D5BA-A28A-4FC0-A729-22365C6B71A2}">
      <dgm:prSet/>
      <dgm:spPr/>
      <dgm:t>
        <a:bodyPr/>
        <a:lstStyle/>
        <a:p>
          <a:endParaRPr lang="zh-CN" altLang="en-US"/>
        </a:p>
      </dgm:t>
    </dgm:pt>
    <dgm:pt modelId="{92C7592B-47DD-4F8B-ABD7-FE0B9AD7FBC3}">
      <dgm:prSet/>
      <dgm:spPr/>
      <dgm:t>
        <a:bodyPr/>
        <a:lstStyle/>
        <a:p>
          <a:r>
            <a:rPr lang="en-GB" altLang="zh-CN" dirty="0" smtClean="0">
              <a:latin typeface="Arial" pitchFamily="34" charset="0"/>
              <a:cs typeface="Arial" pitchFamily="34" charset="0"/>
            </a:rPr>
            <a:t>Ideally the evaluation / test shall be on a dataset that has a similar class </a:t>
          </a:r>
          <a:r>
            <a:rPr lang="en-GB" altLang="zh-CN" dirty="0" err="1" smtClean="0">
              <a:latin typeface="Arial" pitchFamily="34" charset="0"/>
              <a:cs typeface="Arial" pitchFamily="34" charset="0"/>
            </a:rPr>
            <a:t>imbalanceness</a:t>
          </a:r>
          <a:r>
            <a:rPr lang="en-GB" altLang="zh-CN" dirty="0" smtClean="0">
              <a:latin typeface="Arial" pitchFamily="34" charset="0"/>
              <a:cs typeface="Arial" pitchFamily="34" charset="0"/>
            </a:rPr>
            <a:t> as 1K:~123M</a:t>
          </a:r>
          <a:endParaRPr lang="zh-CN" altLang="en-US" dirty="0"/>
        </a:p>
      </dgm:t>
    </dgm:pt>
    <dgm:pt modelId="{158CC064-386B-406C-88D0-E70049B43656}" type="parTrans" cxnId="{9C3E8289-60DC-4D21-9272-2BE0A8A9EDCE}">
      <dgm:prSet/>
      <dgm:spPr/>
      <dgm:t>
        <a:bodyPr/>
        <a:lstStyle/>
        <a:p>
          <a:endParaRPr lang="zh-CN" altLang="en-US"/>
        </a:p>
      </dgm:t>
    </dgm:pt>
    <dgm:pt modelId="{127B9623-AE26-474C-B661-9F893012F013}" type="sibTrans" cxnId="{9C3E8289-60DC-4D21-9272-2BE0A8A9EDCE}">
      <dgm:prSet/>
      <dgm:spPr/>
      <dgm:t>
        <a:bodyPr/>
        <a:lstStyle/>
        <a:p>
          <a:endParaRPr lang="zh-CN" altLang="en-US"/>
        </a:p>
      </dgm:t>
    </dgm:pt>
    <dgm:pt modelId="{449A23DD-B6CC-4889-879B-C4A62E14A510}">
      <dgm:prSet/>
      <dgm:spPr/>
      <dgm:t>
        <a:bodyPr/>
        <a:lstStyle/>
        <a:p>
          <a:r>
            <a:rPr lang="en-GB" altLang="zh-CN" dirty="0" smtClean="0">
              <a:latin typeface="Arial" pitchFamily="34" charset="0"/>
              <a:cs typeface="Arial" pitchFamily="34" charset="0"/>
            </a:rPr>
            <a:t>The metric to use is the precision at </a:t>
          </a:r>
          <a:r>
            <a:rPr lang="en-GB" altLang="zh-CN" b="1" dirty="0" smtClean="0">
              <a:latin typeface="Arial" pitchFamily="34" charset="0"/>
              <a:cs typeface="Arial" pitchFamily="34" charset="0"/>
            </a:rPr>
            <a:t>low-levels</a:t>
          </a:r>
          <a:r>
            <a:rPr lang="en-GB" altLang="zh-CN" dirty="0" smtClean="0">
              <a:latin typeface="Arial" pitchFamily="34" charset="0"/>
              <a:cs typeface="Arial" pitchFamily="34" charset="0"/>
            </a:rPr>
            <a:t> of recall, </a:t>
          </a:r>
          <a:endParaRPr lang="zh-CN" altLang="en-US" dirty="0"/>
        </a:p>
      </dgm:t>
    </dgm:pt>
    <dgm:pt modelId="{671DC19D-AB2C-4EE9-861D-146242AAE999}" type="parTrans" cxnId="{00519A0C-B024-4386-BF94-6AB208E8D12F}">
      <dgm:prSet/>
      <dgm:spPr/>
      <dgm:t>
        <a:bodyPr/>
        <a:lstStyle/>
        <a:p>
          <a:endParaRPr lang="zh-CN" altLang="en-US"/>
        </a:p>
      </dgm:t>
    </dgm:pt>
    <dgm:pt modelId="{DB677EFD-31EC-43DE-B1F5-28E2EE09AE21}" type="sibTrans" cxnId="{00519A0C-B024-4386-BF94-6AB208E8D12F}">
      <dgm:prSet/>
      <dgm:spPr/>
      <dgm:t>
        <a:bodyPr/>
        <a:lstStyle/>
        <a:p>
          <a:endParaRPr lang="zh-CN" altLang="en-US"/>
        </a:p>
      </dgm:t>
    </dgm:pt>
    <dgm:pt modelId="{9E4D02A2-A363-4A92-90F2-2367AAC58EDB}">
      <dgm:prSet/>
      <dgm:spPr/>
      <dgm:t>
        <a:bodyPr/>
        <a:lstStyle/>
        <a:p>
          <a:r>
            <a:rPr lang="en-GB" altLang="zh-CN" dirty="0" smtClean="0">
              <a:latin typeface="Arial" pitchFamily="34" charset="0"/>
              <a:cs typeface="Arial" pitchFamily="34" charset="0"/>
            </a:rPr>
            <a:t>e.g. the average precision of recall values at 0.03, 0.04, 0.05, 0.06 and 0.07</a:t>
          </a:r>
          <a:endParaRPr lang="zh-CN" altLang="en-US" dirty="0"/>
        </a:p>
      </dgm:t>
    </dgm:pt>
    <dgm:pt modelId="{4ACB00FE-5EF5-4475-AC1C-B2F4002228DC}" type="parTrans" cxnId="{2D7CA220-6137-43A5-A008-73A8BA01DA29}">
      <dgm:prSet/>
      <dgm:spPr/>
      <dgm:t>
        <a:bodyPr/>
        <a:lstStyle/>
        <a:p>
          <a:endParaRPr lang="zh-CN" altLang="en-US"/>
        </a:p>
      </dgm:t>
    </dgm:pt>
    <dgm:pt modelId="{DDD2FEE6-8B64-451B-9D01-32318DB8BD01}" type="sibTrans" cxnId="{2D7CA220-6137-43A5-A008-73A8BA01DA29}">
      <dgm:prSet/>
      <dgm:spPr/>
      <dgm:t>
        <a:bodyPr/>
        <a:lstStyle/>
        <a:p>
          <a:endParaRPr lang="zh-CN" altLang="en-US"/>
        </a:p>
      </dgm:t>
    </dgm:pt>
    <dgm:pt modelId="{B160DE5A-0CB4-424C-BDB9-70AB668D6FD8}">
      <dgm:prSet/>
      <dgm:spPr/>
      <dgm:t>
        <a:bodyPr/>
        <a:lstStyle/>
        <a:p>
          <a:r>
            <a:rPr lang="en-US" altLang="zh-CN" dirty="0" smtClean="0"/>
            <a:t>Finally on the large dataset ~123M</a:t>
          </a:r>
          <a:endParaRPr lang="zh-CN" altLang="en-US" dirty="0"/>
        </a:p>
      </dgm:t>
    </dgm:pt>
    <dgm:pt modelId="{0A59302B-54FA-4FFC-900D-02096A3302B2}" type="parTrans" cxnId="{9C6FB2B4-368E-4B60-9230-B49A32F02392}">
      <dgm:prSet/>
      <dgm:spPr/>
      <dgm:t>
        <a:bodyPr/>
        <a:lstStyle/>
        <a:p>
          <a:endParaRPr lang="zh-CN" altLang="en-US"/>
        </a:p>
      </dgm:t>
    </dgm:pt>
    <dgm:pt modelId="{78878A06-9E0A-4078-8068-78EC989B8F05}" type="sibTrans" cxnId="{9C6FB2B4-368E-4B60-9230-B49A32F02392}">
      <dgm:prSet/>
      <dgm:spPr/>
      <dgm:t>
        <a:bodyPr/>
        <a:lstStyle/>
        <a:p>
          <a:endParaRPr lang="zh-CN" altLang="en-US"/>
        </a:p>
      </dgm:t>
    </dgm:pt>
    <dgm:pt modelId="{231A3971-FB41-43CC-BB48-84D01934EAF4}">
      <dgm:prSet/>
      <dgm:spPr/>
      <dgm:t>
        <a:bodyPr/>
        <a:lstStyle/>
        <a:p>
          <a:r>
            <a:rPr lang="en-GB" altLang="zh-CN" dirty="0" smtClean="0"/>
            <a:t>Get the prediction result by applying the final model on the final large dataset</a:t>
          </a:r>
          <a:endParaRPr lang="zh-CN" altLang="en-US" dirty="0"/>
        </a:p>
      </dgm:t>
    </dgm:pt>
    <dgm:pt modelId="{E160FD96-D1E2-436D-836E-5755331D0E4F}" type="parTrans" cxnId="{9119A4CC-F63B-4FF6-9A59-48F064120E2D}">
      <dgm:prSet/>
      <dgm:spPr/>
      <dgm:t>
        <a:bodyPr/>
        <a:lstStyle/>
        <a:p>
          <a:endParaRPr lang="zh-CN" altLang="en-US"/>
        </a:p>
      </dgm:t>
    </dgm:pt>
    <dgm:pt modelId="{5B1247AE-7153-4438-9B47-2866512DC01B}" type="sibTrans" cxnId="{9119A4CC-F63B-4FF6-9A59-48F064120E2D}">
      <dgm:prSet/>
      <dgm:spPr/>
      <dgm:t>
        <a:bodyPr/>
        <a:lstStyle/>
        <a:p>
          <a:endParaRPr lang="zh-CN" altLang="en-US"/>
        </a:p>
      </dgm:t>
    </dgm:pt>
    <dgm:pt modelId="{CBD50988-CDFB-4CF1-B4D8-41D8FA648921}">
      <dgm:prSet/>
      <dgm:spPr/>
      <dgm:t>
        <a:bodyPr/>
        <a:lstStyle/>
        <a:p>
          <a:r>
            <a:rPr lang="en-GB" altLang="zh-CN" dirty="0" smtClean="0"/>
            <a:t>get the targeting patients which falling into targeting recall bucket</a:t>
          </a:r>
          <a:endParaRPr lang="zh-CN" altLang="en-US" dirty="0"/>
        </a:p>
      </dgm:t>
    </dgm:pt>
    <dgm:pt modelId="{F7C68A1E-7CB5-4A7A-A709-0E9881F78ECA}" type="parTrans" cxnId="{321AB04C-5D8A-4054-B43A-ADD827FF03A7}">
      <dgm:prSet/>
      <dgm:spPr/>
      <dgm:t>
        <a:bodyPr/>
        <a:lstStyle/>
        <a:p>
          <a:endParaRPr lang="zh-CN" altLang="en-US"/>
        </a:p>
      </dgm:t>
    </dgm:pt>
    <dgm:pt modelId="{C3068217-AE42-41CF-A36C-A83B2A631C71}" type="sibTrans" cxnId="{321AB04C-5D8A-4054-B43A-ADD827FF03A7}">
      <dgm:prSet/>
      <dgm:spPr/>
      <dgm:t>
        <a:bodyPr/>
        <a:lstStyle/>
        <a:p>
          <a:endParaRPr lang="zh-CN" altLang="en-US"/>
        </a:p>
      </dgm:t>
    </dgm:pt>
    <dgm:pt modelId="{39F315BB-2E2E-4A47-835A-E5240201A471}" type="pres">
      <dgm:prSet presAssocID="{A3A493EC-9E68-4C61-AD3E-71BFA4CB093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BE76AF8-F296-4EC8-88AB-0151D3455F55}" type="pres">
      <dgm:prSet presAssocID="{45741719-410D-4034-9FD8-334E6A6A7B42}" presName="parentLin" presStyleCnt="0"/>
      <dgm:spPr/>
    </dgm:pt>
    <dgm:pt modelId="{3A4433D3-E2E3-4E0E-88EA-16FFF65644FB}" type="pres">
      <dgm:prSet presAssocID="{45741719-410D-4034-9FD8-334E6A6A7B42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53AB8FB6-543C-4B22-BBCF-EF8CDA1480FA}" type="pres">
      <dgm:prSet presAssocID="{45741719-410D-4034-9FD8-334E6A6A7B42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FC5F2FA-5166-42E7-A3F9-F5A70B2FA008}" type="pres">
      <dgm:prSet presAssocID="{45741719-410D-4034-9FD8-334E6A6A7B42}" presName="negativeSpace" presStyleCnt="0"/>
      <dgm:spPr/>
    </dgm:pt>
    <dgm:pt modelId="{F008AD0B-FC5E-4AFD-BAE7-D5F0B5E7CBF7}" type="pres">
      <dgm:prSet presAssocID="{45741719-410D-4034-9FD8-334E6A6A7B42}" presName="childText" presStyleLbl="conFgAcc1" presStyleIdx="0" presStyleCnt="3" custLinFactNeighborX="75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E5633DF-A374-4649-A57D-62D5333BCE4A}" type="pres">
      <dgm:prSet presAssocID="{841E5C7C-6761-4F53-882E-B53E70469955}" presName="spaceBetweenRectangles" presStyleCnt="0"/>
      <dgm:spPr/>
    </dgm:pt>
    <dgm:pt modelId="{49B3CB0F-5875-4CCA-9DA3-69034C776972}" type="pres">
      <dgm:prSet presAssocID="{B160DE5A-0CB4-424C-BDB9-70AB668D6FD8}" presName="parentLin" presStyleCnt="0"/>
      <dgm:spPr/>
    </dgm:pt>
    <dgm:pt modelId="{4BBF048A-0C32-4BC9-8FF3-2ED55E8FDA38}" type="pres">
      <dgm:prSet presAssocID="{B160DE5A-0CB4-424C-BDB9-70AB668D6FD8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4D64B31B-DFEA-4433-A9C8-0FA2EA0509B0}" type="pres">
      <dgm:prSet presAssocID="{B160DE5A-0CB4-424C-BDB9-70AB668D6FD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50D926B-6A08-4750-BE8A-59B1C95A81EF}" type="pres">
      <dgm:prSet presAssocID="{B160DE5A-0CB4-424C-BDB9-70AB668D6FD8}" presName="negativeSpace" presStyleCnt="0"/>
      <dgm:spPr/>
    </dgm:pt>
    <dgm:pt modelId="{1328B6A1-1831-4DC8-B899-C064B251D8B9}" type="pres">
      <dgm:prSet presAssocID="{B160DE5A-0CB4-424C-BDB9-70AB668D6FD8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A2F792B-7C45-4DB0-9F7F-8FF5F3DDD4DE}" type="pres">
      <dgm:prSet presAssocID="{78878A06-9E0A-4078-8068-78EC989B8F05}" presName="spaceBetweenRectangles" presStyleCnt="0"/>
      <dgm:spPr/>
    </dgm:pt>
    <dgm:pt modelId="{84B26E21-7FDE-4915-81FA-C23514AE1DC0}" type="pres">
      <dgm:prSet presAssocID="{8C5585C0-871C-436A-BB54-4989C655FDFC}" presName="parentLin" presStyleCnt="0"/>
      <dgm:spPr/>
    </dgm:pt>
    <dgm:pt modelId="{64EA719F-47BB-4555-95AD-FA57057A671F}" type="pres">
      <dgm:prSet presAssocID="{8C5585C0-871C-436A-BB54-4989C655FDFC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DB0FD15F-DACD-4B04-84E3-845D36220BFB}" type="pres">
      <dgm:prSet presAssocID="{8C5585C0-871C-436A-BB54-4989C655FDF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1475A51-6E95-4B3E-8458-72C8CF34D275}" type="pres">
      <dgm:prSet presAssocID="{8C5585C0-871C-436A-BB54-4989C655FDFC}" presName="negativeSpace" presStyleCnt="0"/>
      <dgm:spPr/>
    </dgm:pt>
    <dgm:pt modelId="{DA5E522C-1327-45DE-BA35-A8A529012300}" type="pres">
      <dgm:prSet presAssocID="{8C5585C0-871C-436A-BB54-4989C655FDF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4D56E85C-69F5-42BF-B833-A51E2660D72A}" type="presOf" srcId="{45741719-410D-4034-9FD8-334E6A6A7B42}" destId="{53AB8FB6-543C-4B22-BBCF-EF8CDA1480FA}" srcOrd="1" destOrd="0" presId="urn:microsoft.com/office/officeart/2005/8/layout/list1"/>
    <dgm:cxn modelId="{E5B0D5BA-A28A-4FC0-A729-22365C6B71A2}" srcId="{A3A493EC-9E68-4C61-AD3E-71BFA4CB093B}" destId="{8C5585C0-871C-436A-BB54-4989C655FDFC}" srcOrd="2" destOrd="0" parTransId="{217FA2BB-2310-452D-83B8-1BB5CA26B6FD}" sibTransId="{054A93A6-23A8-4042-AA2F-40359F6F69DF}"/>
    <dgm:cxn modelId="{EA54592E-7C18-4B4E-9978-4B66F65186CA}" type="presOf" srcId="{8C5585C0-871C-436A-BB54-4989C655FDFC}" destId="{64EA719F-47BB-4555-95AD-FA57057A671F}" srcOrd="0" destOrd="0" presId="urn:microsoft.com/office/officeart/2005/8/layout/list1"/>
    <dgm:cxn modelId="{9C6FB2B4-368E-4B60-9230-B49A32F02392}" srcId="{A3A493EC-9E68-4C61-AD3E-71BFA4CB093B}" destId="{B160DE5A-0CB4-424C-BDB9-70AB668D6FD8}" srcOrd="1" destOrd="0" parTransId="{0A59302B-54FA-4FFC-900D-02096A3302B2}" sibTransId="{78878A06-9E0A-4078-8068-78EC989B8F05}"/>
    <dgm:cxn modelId="{3BFEA560-7F22-448A-9C12-1B006566ACBC}" type="presOf" srcId="{449A23DD-B6CC-4889-879B-C4A62E14A510}" destId="{DA5E522C-1327-45DE-BA35-A8A529012300}" srcOrd="0" destOrd="0" presId="urn:microsoft.com/office/officeart/2005/8/layout/list1"/>
    <dgm:cxn modelId="{8982EC74-FE9F-4C93-BFA8-9EF76EDC3FE2}" type="presOf" srcId="{B160DE5A-0CB4-424C-BDB9-70AB668D6FD8}" destId="{4BBF048A-0C32-4BC9-8FF3-2ED55E8FDA38}" srcOrd="0" destOrd="0" presId="urn:microsoft.com/office/officeart/2005/8/layout/list1"/>
    <dgm:cxn modelId="{2D7CA220-6137-43A5-A008-73A8BA01DA29}" srcId="{8C5585C0-871C-436A-BB54-4989C655FDFC}" destId="{9E4D02A2-A363-4A92-90F2-2367AAC58EDB}" srcOrd="1" destOrd="0" parTransId="{4ACB00FE-5EF5-4475-AC1C-B2F4002228DC}" sibTransId="{DDD2FEE6-8B64-451B-9D01-32318DB8BD01}"/>
    <dgm:cxn modelId="{60A561E8-3526-4A23-AD95-EC07E27178ED}" type="presOf" srcId="{8C5585C0-871C-436A-BB54-4989C655FDFC}" destId="{DB0FD15F-DACD-4B04-84E3-845D36220BFB}" srcOrd="1" destOrd="0" presId="urn:microsoft.com/office/officeart/2005/8/layout/list1"/>
    <dgm:cxn modelId="{9119A4CC-F63B-4FF6-9A59-48F064120E2D}" srcId="{B160DE5A-0CB4-424C-BDB9-70AB668D6FD8}" destId="{231A3971-FB41-43CC-BB48-84D01934EAF4}" srcOrd="0" destOrd="0" parTransId="{E160FD96-D1E2-436D-836E-5755331D0E4F}" sibTransId="{5B1247AE-7153-4438-9B47-2866512DC01B}"/>
    <dgm:cxn modelId="{D323BC0B-1DF0-4875-8F08-669936100F4F}" type="presOf" srcId="{CBD50988-CDFB-4CF1-B4D8-41D8FA648921}" destId="{1328B6A1-1831-4DC8-B899-C064B251D8B9}" srcOrd="0" destOrd="1" presId="urn:microsoft.com/office/officeart/2005/8/layout/list1"/>
    <dgm:cxn modelId="{C278179C-536D-43A3-B840-3E16E3A4A9F1}" type="presOf" srcId="{92C7592B-47DD-4F8B-ABD7-FE0B9AD7FBC3}" destId="{F008AD0B-FC5E-4AFD-BAE7-D5F0B5E7CBF7}" srcOrd="0" destOrd="0" presId="urn:microsoft.com/office/officeart/2005/8/layout/list1"/>
    <dgm:cxn modelId="{00519A0C-B024-4386-BF94-6AB208E8D12F}" srcId="{8C5585C0-871C-436A-BB54-4989C655FDFC}" destId="{449A23DD-B6CC-4889-879B-C4A62E14A510}" srcOrd="0" destOrd="0" parTransId="{671DC19D-AB2C-4EE9-861D-146242AAE999}" sibTransId="{DB677EFD-31EC-43DE-B1F5-28E2EE09AE21}"/>
    <dgm:cxn modelId="{321AB04C-5D8A-4054-B43A-ADD827FF03A7}" srcId="{B160DE5A-0CB4-424C-BDB9-70AB668D6FD8}" destId="{CBD50988-CDFB-4CF1-B4D8-41D8FA648921}" srcOrd="1" destOrd="0" parTransId="{F7C68A1E-7CB5-4A7A-A709-0E9881F78ECA}" sibTransId="{C3068217-AE42-41CF-A36C-A83B2A631C71}"/>
    <dgm:cxn modelId="{D6B13BD1-ADB3-4A52-ABCE-CE7276690E8D}" srcId="{A3A493EC-9E68-4C61-AD3E-71BFA4CB093B}" destId="{45741719-410D-4034-9FD8-334E6A6A7B42}" srcOrd="0" destOrd="0" parTransId="{5F9F5CE3-90D7-4298-BB0C-E47BBD02790B}" sibTransId="{841E5C7C-6761-4F53-882E-B53E70469955}"/>
    <dgm:cxn modelId="{7401F3C5-ED37-41EB-A509-F1EBB237B5C6}" type="presOf" srcId="{231A3971-FB41-43CC-BB48-84D01934EAF4}" destId="{1328B6A1-1831-4DC8-B899-C064B251D8B9}" srcOrd="0" destOrd="0" presId="urn:microsoft.com/office/officeart/2005/8/layout/list1"/>
    <dgm:cxn modelId="{51A91302-D784-419E-A5E5-03BB9EAAD907}" type="presOf" srcId="{45741719-410D-4034-9FD8-334E6A6A7B42}" destId="{3A4433D3-E2E3-4E0E-88EA-16FFF65644FB}" srcOrd="0" destOrd="0" presId="urn:microsoft.com/office/officeart/2005/8/layout/list1"/>
    <dgm:cxn modelId="{5D07C36E-357D-4088-8445-F265C7A3A39B}" type="presOf" srcId="{9E4D02A2-A363-4A92-90F2-2367AAC58EDB}" destId="{DA5E522C-1327-45DE-BA35-A8A529012300}" srcOrd="0" destOrd="1" presId="urn:microsoft.com/office/officeart/2005/8/layout/list1"/>
    <dgm:cxn modelId="{9C3E8289-60DC-4D21-9272-2BE0A8A9EDCE}" srcId="{45741719-410D-4034-9FD8-334E6A6A7B42}" destId="{92C7592B-47DD-4F8B-ABD7-FE0B9AD7FBC3}" srcOrd="0" destOrd="0" parTransId="{158CC064-386B-406C-88D0-E70049B43656}" sibTransId="{127B9623-AE26-474C-B661-9F893012F013}"/>
    <dgm:cxn modelId="{95C7EE5D-0C7E-4CBC-B35C-97DCC5D6D890}" type="presOf" srcId="{A3A493EC-9E68-4C61-AD3E-71BFA4CB093B}" destId="{39F315BB-2E2E-4A47-835A-E5240201A471}" srcOrd="0" destOrd="0" presId="urn:microsoft.com/office/officeart/2005/8/layout/list1"/>
    <dgm:cxn modelId="{1506797C-9436-4B5D-8684-799C4D30118B}" type="presOf" srcId="{B160DE5A-0CB4-424C-BDB9-70AB668D6FD8}" destId="{4D64B31B-DFEA-4433-A9C8-0FA2EA0509B0}" srcOrd="1" destOrd="0" presId="urn:microsoft.com/office/officeart/2005/8/layout/list1"/>
    <dgm:cxn modelId="{09CB19BB-7569-49F6-99C2-1C6E71254363}" type="presParOf" srcId="{39F315BB-2E2E-4A47-835A-E5240201A471}" destId="{ABE76AF8-F296-4EC8-88AB-0151D3455F55}" srcOrd="0" destOrd="0" presId="urn:microsoft.com/office/officeart/2005/8/layout/list1"/>
    <dgm:cxn modelId="{33C4CD8A-0F88-4631-9EF1-FFE40420C19A}" type="presParOf" srcId="{ABE76AF8-F296-4EC8-88AB-0151D3455F55}" destId="{3A4433D3-E2E3-4E0E-88EA-16FFF65644FB}" srcOrd="0" destOrd="0" presId="urn:microsoft.com/office/officeart/2005/8/layout/list1"/>
    <dgm:cxn modelId="{0F276607-9ACC-4AB2-BE9C-B060EFA1DADC}" type="presParOf" srcId="{ABE76AF8-F296-4EC8-88AB-0151D3455F55}" destId="{53AB8FB6-543C-4B22-BBCF-EF8CDA1480FA}" srcOrd="1" destOrd="0" presId="urn:microsoft.com/office/officeart/2005/8/layout/list1"/>
    <dgm:cxn modelId="{42ACFE53-314B-414F-97A6-78945633D4CF}" type="presParOf" srcId="{39F315BB-2E2E-4A47-835A-E5240201A471}" destId="{4FC5F2FA-5166-42E7-A3F9-F5A70B2FA008}" srcOrd="1" destOrd="0" presId="urn:microsoft.com/office/officeart/2005/8/layout/list1"/>
    <dgm:cxn modelId="{01ACE774-5548-43B8-BB60-011266B76F27}" type="presParOf" srcId="{39F315BB-2E2E-4A47-835A-E5240201A471}" destId="{F008AD0B-FC5E-4AFD-BAE7-D5F0B5E7CBF7}" srcOrd="2" destOrd="0" presId="urn:microsoft.com/office/officeart/2005/8/layout/list1"/>
    <dgm:cxn modelId="{A837FD27-E84B-4CFE-ACF4-196F268E2DA0}" type="presParOf" srcId="{39F315BB-2E2E-4A47-835A-E5240201A471}" destId="{1E5633DF-A374-4649-A57D-62D5333BCE4A}" srcOrd="3" destOrd="0" presId="urn:microsoft.com/office/officeart/2005/8/layout/list1"/>
    <dgm:cxn modelId="{8BE4BF94-74D6-4AE1-AC03-D149AD544305}" type="presParOf" srcId="{39F315BB-2E2E-4A47-835A-E5240201A471}" destId="{49B3CB0F-5875-4CCA-9DA3-69034C776972}" srcOrd="4" destOrd="0" presId="urn:microsoft.com/office/officeart/2005/8/layout/list1"/>
    <dgm:cxn modelId="{BBCEA1CB-66C7-4506-A4AF-E29BEF4AC120}" type="presParOf" srcId="{49B3CB0F-5875-4CCA-9DA3-69034C776972}" destId="{4BBF048A-0C32-4BC9-8FF3-2ED55E8FDA38}" srcOrd="0" destOrd="0" presId="urn:microsoft.com/office/officeart/2005/8/layout/list1"/>
    <dgm:cxn modelId="{0351EA54-6C9B-4F05-9443-411F763F8DCC}" type="presParOf" srcId="{49B3CB0F-5875-4CCA-9DA3-69034C776972}" destId="{4D64B31B-DFEA-4433-A9C8-0FA2EA0509B0}" srcOrd="1" destOrd="0" presId="urn:microsoft.com/office/officeart/2005/8/layout/list1"/>
    <dgm:cxn modelId="{2D026352-BA23-449A-BF75-4A96DFC8E9A1}" type="presParOf" srcId="{39F315BB-2E2E-4A47-835A-E5240201A471}" destId="{850D926B-6A08-4750-BE8A-59B1C95A81EF}" srcOrd="5" destOrd="0" presId="urn:microsoft.com/office/officeart/2005/8/layout/list1"/>
    <dgm:cxn modelId="{69D71B5D-293E-4C91-8D46-856D51D41236}" type="presParOf" srcId="{39F315BB-2E2E-4A47-835A-E5240201A471}" destId="{1328B6A1-1831-4DC8-B899-C064B251D8B9}" srcOrd="6" destOrd="0" presId="urn:microsoft.com/office/officeart/2005/8/layout/list1"/>
    <dgm:cxn modelId="{F78384BA-A2FC-49B1-ABC3-255E50C9E3C6}" type="presParOf" srcId="{39F315BB-2E2E-4A47-835A-E5240201A471}" destId="{4A2F792B-7C45-4DB0-9F7F-8FF5F3DDD4DE}" srcOrd="7" destOrd="0" presId="urn:microsoft.com/office/officeart/2005/8/layout/list1"/>
    <dgm:cxn modelId="{ABB027CF-5389-42D8-B38C-01DD81ABC2AA}" type="presParOf" srcId="{39F315BB-2E2E-4A47-835A-E5240201A471}" destId="{84B26E21-7FDE-4915-81FA-C23514AE1DC0}" srcOrd="8" destOrd="0" presId="urn:microsoft.com/office/officeart/2005/8/layout/list1"/>
    <dgm:cxn modelId="{277BABF2-8175-45AE-8E4C-EF0C2B079B1F}" type="presParOf" srcId="{84B26E21-7FDE-4915-81FA-C23514AE1DC0}" destId="{64EA719F-47BB-4555-95AD-FA57057A671F}" srcOrd="0" destOrd="0" presId="urn:microsoft.com/office/officeart/2005/8/layout/list1"/>
    <dgm:cxn modelId="{06EE7200-F318-4640-BADB-4E0F1E9AE539}" type="presParOf" srcId="{84B26E21-7FDE-4915-81FA-C23514AE1DC0}" destId="{DB0FD15F-DACD-4B04-84E3-845D36220BFB}" srcOrd="1" destOrd="0" presId="urn:microsoft.com/office/officeart/2005/8/layout/list1"/>
    <dgm:cxn modelId="{48F02630-67D3-40DB-A791-52CE0BDB5D16}" type="presParOf" srcId="{39F315BB-2E2E-4A47-835A-E5240201A471}" destId="{01475A51-6E95-4B3E-8458-72C8CF34D275}" srcOrd="9" destOrd="0" presId="urn:microsoft.com/office/officeart/2005/8/layout/list1"/>
    <dgm:cxn modelId="{9B08C7E7-FB1A-4D07-BCFF-363C4AF58AAD}" type="presParOf" srcId="{39F315BB-2E2E-4A47-835A-E5240201A471}" destId="{DA5E522C-1327-45DE-BA35-A8A52901230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1150FE-21C2-4D8F-820D-A3295124A53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369683B-A329-4D05-BF1F-D43C4289B99B}">
      <dgm:prSet phldrT="[Text]"/>
      <dgm:spPr/>
      <dgm:t>
        <a:bodyPr/>
        <a:lstStyle/>
        <a:p>
          <a:r>
            <a:rPr lang="en-US" altLang="zh-CN" dirty="0" smtClean="0"/>
            <a:t>First-stage lasso model</a:t>
          </a:r>
          <a:endParaRPr lang="zh-CN" altLang="en-US" dirty="0"/>
        </a:p>
      </dgm:t>
    </dgm:pt>
    <dgm:pt modelId="{585E288F-0932-4EE6-83A0-091F42ADB193}" type="parTrans" cxnId="{85886EAD-E21E-4E6A-9A20-2FF5A9AD6F31}">
      <dgm:prSet/>
      <dgm:spPr/>
      <dgm:t>
        <a:bodyPr/>
        <a:lstStyle/>
        <a:p>
          <a:endParaRPr lang="zh-CN" altLang="en-US"/>
        </a:p>
      </dgm:t>
    </dgm:pt>
    <dgm:pt modelId="{656E0603-134B-495D-81CA-082A21F16322}" type="sibTrans" cxnId="{85886EAD-E21E-4E6A-9A20-2FF5A9AD6F31}">
      <dgm:prSet/>
      <dgm:spPr/>
      <dgm:t>
        <a:bodyPr/>
        <a:lstStyle/>
        <a:p>
          <a:endParaRPr lang="zh-CN" altLang="en-US"/>
        </a:p>
      </dgm:t>
    </dgm:pt>
    <dgm:pt modelId="{9F1BB9C2-4B75-44FD-9CF1-72EE927220A5}">
      <dgm:prSet phldrT="[Text]"/>
      <dgm:spPr/>
      <dgm:t>
        <a:bodyPr/>
        <a:lstStyle/>
        <a:p>
          <a:r>
            <a:rPr lang="en-US" altLang="zh-CN" dirty="0" smtClean="0">
              <a:latin typeface="Arial" pitchFamily="34" charset="0"/>
              <a:cs typeface="Arial" pitchFamily="34" charset="0"/>
            </a:rPr>
            <a:t>To get the prediction on the test data</a:t>
          </a:r>
          <a:endParaRPr lang="zh-CN" altLang="en-US" dirty="0"/>
        </a:p>
      </dgm:t>
    </dgm:pt>
    <dgm:pt modelId="{6E308523-4A86-4E59-9C60-A102B4612EC7}" type="parTrans" cxnId="{A4F89032-02D2-4117-9A8A-D9C79B0BEDDA}">
      <dgm:prSet/>
      <dgm:spPr/>
      <dgm:t>
        <a:bodyPr/>
        <a:lstStyle/>
        <a:p>
          <a:endParaRPr lang="zh-CN" altLang="en-US"/>
        </a:p>
      </dgm:t>
    </dgm:pt>
    <dgm:pt modelId="{DD943F6D-CA94-41B7-9581-D65F8F544A89}" type="sibTrans" cxnId="{A4F89032-02D2-4117-9A8A-D9C79B0BEDDA}">
      <dgm:prSet/>
      <dgm:spPr/>
      <dgm:t>
        <a:bodyPr/>
        <a:lstStyle/>
        <a:p>
          <a:endParaRPr lang="zh-CN" altLang="en-US"/>
        </a:p>
      </dgm:t>
    </dgm:pt>
    <dgm:pt modelId="{3B19AAAB-943D-4849-B603-2D9D37FD3D1E}">
      <dgm:prSet phldrT="[Text]"/>
      <dgm:spPr/>
      <dgm:t>
        <a:bodyPr/>
        <a:lstStyle/>
        <a:p>
          <a:r>
            <a:rPr lang="en-US" altLang="zh-CN" dirty="0" smtClean="0"/>
            <a:t>Second-stage lasso model</a:t>
          </a:r>
          <a:endParaRPr lang="zh-CN" altLang="en-US" dirty="0"/>
        </a:p>
      </dgm:t>
    </dgm:pt>
    <dgm:pt modelId="{A0D6AB05-F009-4777-A620-A912400D449F}" type="parTrans" cxnId="{2E5199E4-9A30-4C33-A6B0-30D3C205D55F}">
      <dgm:prSet/>
      <dgm:spPr/>
      <dgm:t>
        <a:bodyPr/>
        <a:lstStyle/>
        <a:p>
          <a:endParaRPr lang="zh-CN" altLang="en-US"/>
        </a:p>
      </dgm:t>
    </dgm:pt>
    <dgm:pt modelId="{65A4C222-C921-4E06-ACED-B45B08E6E977}" type="sibTrans" cxnId="{2E5199E4-9A30-4C33-A6B0-30D3C205D55F}">
      <dgm:prSet/>
      <dgm:spPr/>
      <dgm:t>
        <a:bodyPr/>
        <a:lstStyle/>
        <a:p>
          <a:endParaRPr lang="zh-CN" altLang="en-US"/>
        </a:p>
      </dgm:t>
    </dgm:pt>
    <dgm:pt modelId="{34E0ACCE-7E71-43E5-B05C-D2EA63626A5C}">
      <dgm:prSet phldrT="[Text]"/>
      <dgm:spPr/>
      <dgm:t>
        <a:bodyPr/>
        <a:lstStyle/>
        <a:p>
          <a:r>
            <a:rPr lang="en-US" altLang="zh-CN" dirty="0" smtClean="0"/>
            <a:t>Using the new formed data</a:t>
          </a:r>
          <a:endParaRPr lang="zh-CN" altLang="en-US" dirty="0"/>
        </a:p>
      </dgm:t>
    </dgm:pt>
    <dgm:pt modelId="{34E62E05-314D-44CE-B5CE-FD6DD36F41D2}" type="parTrans" cxnId="{CC294B8F-ADB1-4E80-81FE-1822B1BEC0A1}">
      <dgm:prSet/>
      <dgm:spPr/>
      <dgm:t>
        <a:bodyPr/>
        <a:lstStyle/>
        <a:p>
          <a:endParaRPr lang="zh-CN" altLang="en-US"/>
        </a:p>
      </dgm:t>
    </dgm:pt>
    <dgm:pt modelId="{D26D27F5-AA81-4561-B68B-B094B6A73BA8}" type="sibTrans" cxnId="{CC294B8F-ADB1-4E80-81FE-1822B1BEC0A1}">
      <dgm:prSet/>
      <dgm:spPr/>
      <dgm:t>
        <a:bodyPr/>
        <a:lstStyle/>
        <a:p>
          <a:endParaRPr lang="zh-CN" altLang="en-US"/>
        </a:p>
      </dgm:t>
    </dgm:pt>
    <dgm:pt modelId="{F3B50852-E69D-4654-8468-690F2AC4D22E}">
      <dgm:prSet/>
      <dgm:spPr/>
      <dgm:t>
        <a:bodyPr/>
        <a:lstStyle/>
        <a:p>
          <a:r>
            <a:rPr lang="en-US" altLang="zh-CN" dirty="0" smtClean="0">
              <a:latin typeface="Arial" pitchFamily="34" charset="0"/>
              <a:cs typeface="Arial" pitchFamily="34" charset="0"/>
            </a:rPr>
            <a:t>Give a select rate of how many patients do you want to select from negative ones</a:t>
          </a:r>
          <a:endParaRPr lang="zh-CN" altLang="en-US" dirty="0"/>
        </a:p>
      </dgm:t>
    </dgm:pt>
    <dgm:pt modelId="{B2697863-40CD-45A1-9BFB-DED5411C1BF7}" type="parTrans" cxnId="{36474555-6386-4314-8F34-2A038A1CF3DF}">
      <dgm:prSet/>
      <dgm:spPr/>
      <dgm:t>
        <a:bodyPr/>
        <a:lstStyle/>
        <a:p>
          <a:endParaRPr lang="zh-CN" altLang="en-US"/>
        </a:p>
      </dgm:t>
    </dgm:pt>
    <dgm:pt modelId="{9C95A368-12CE-4155-B58B-74913685FB94}" type="sibTrans" cxnId="{36474555-6386-4314-8F34-2A038A1CF3DF}">
      <dgm:prSet/>
      <dgm:spPr/>
      <dgm:t>
        <a:bodyPr/>
        <a:lstStyle/>
        <a:p>
          <a:endParaRPr lang="zh-CN" altLang="en-US"/>
        </a:p>
      </dgm:t>
    </dgm:pt>
    <dgm:pt modelId="{2BEEDB59-5E77-46E6-BC33-7896E52DCD00}">
      <dgm:prSet/>
      <dgm:spPr/>
      <dgm:t>
        <a:bodyPr/>
        <a:lstStyle/>
        <a:p>
          <a:r>
            <a:rPr lang="en-US" altLang="zh-CN" dirty="0" smtClean="0">
              <a:latin typeface="Arial" pitchFamily="34" charset="0"/>
              <a:cs typeface="Arial" pitchFamily="34" charset="0"/>
            </a:rPr>
            <a:t>Get a threshold of prediction for the negative patients selection</a:t>
          </a:r>
          <a:endParaRPr lang="zh-CN" altLang="en-US" dirty="0"/>
        </a:p>
      </dgm:t>
    </dgm:pt>
    <dgm:pt modelId="{B6C64BD2-ADFC-4183-AC16-9D61F12F53EF}" type="parTrans" cxnId="{808251F9-26A6-4400-BEDA-3A9BA40FFDB3}">
      <dgm:prSet/>
      <dgm:spPr/>
      <dgm:t>
        <a:bodyPr/>
        <a:lstStyle/>
        <a:p>
          <a:endParaRPr lang="zh-CN" altLang="en-US"/>
        </a:p>
      </dgm:t>
    </dgm:pt>
    <dgm:pt modelId="{62D85025-F671-435D-87E7-DA01596ACFC0}" type="sibTrans" cxnId="{808251F9-26A6-4400-BEDA-3A9BA40FFDB3}">
      <dgm:prSet/>
      <dgm:spPr/>
      <dgm:t>
        <a:bodyPr/>
        <a:lstStyle/>
        <a:p>
          <a:endParaRPr lang="zh-CN" altLang="en-US"/>
        </a:p>
      </dgm:t>
    </dgm:pt>
    <dgm:pt modelId="{6CB73D3A-7EA7-4CC0-8861-0CB5CD5859BE}">
      <dgm:prSet/>
      <dgm:spPr/>
      <dgm:t>
        <a:bodyPr/>
        <a:lstStyle/>
        <a:p>
          <a:r>
            <a:rPr lang="en-US" altLang="zh-CN" dirty="0" smtClean="0">
              <a:latin typeface="Arial" pitchFamily="34" charset="0"/>
              <a:cs typeface="Arial" pitchFamily="34" charset="0"/>
            </a:rPr>
            <a:t>Select the negative ones using the threshold</a:t>
          </a:r>
          <a:endParaRPr lang="zh-CN" altLang="en-US" dirty="0"/>
        </a:p>
      </dgm:t>
    </dgm:pt>
    <dgm:pt modelId="{D85637DD-75CD-490C-9E3C-EFF0A3E74EC3}" type="parTrans" cxnId="{1A2E181C-F4CD-4200-98FB-37D11472EF1E}">
      <dgm:prSet/>
      <dgm:spPr/>
      <dgm:t>
        <a:bodyPr/>
        <a:lstStyle/>
        <a:p>
          <a:endParaRPr lang="zh-CN" altLang="en-US"/>
        </a:p>
      </dgm:t>
    </dgm:pt>
    <dgm:pt modelId="{C36DB068-F2E9-4CAD-910D-E31DE4E9F575}" type="sibTrans" cxnId="{1A2E181C-F4CD-4200-98FB-37D11472EF1E}">
      <dgm:prSet/>
      <dgm:spPr/>
      <dgm:t>
        <a:bodyPr/>
        <a:lstStyle/>
        <a:p>
          <a:endParaRPr lang="zh-CN" altLang="en-US"/>
        </a:p>
      </dgm:t>
    </dgm:pt>
    <dgm:pt modelId="{A34DC94A-A147-468E-8258-EDB95D1DC200}">
      <dgm:prSet phldrT="[Text]"/>
      <dgm:spPr/>
      <dgm:t>
        <a:bodyPr/>
        <a:lstStyle/>
        <a:p>
          <a:r>
            <a:rPr lang="en-US" altLang="zh-CN" dirty="0" smtClean="0"/>
            <a:t>To get the prediction for the new test data</a:t>
          </a:r>
          <a:endParaRPr lang="zh-CN" altLang="en-US" dirty="0"/>
        </a:p>
      </dgm:t>
    </dgm:pt>
    <dgm:pt modelId="{EB7CCC58-6DD7-42CE-AFF7-8FCBC431F511}" type="parTrans" cxnId="{FD46EF17-83C2-4543-91AF-53895ACE8C90}">
      <dgm:prSet/>
      <dgm:spPr/>
      <dgm:t>
        <a:bodyPr/>
        <a:lstStyle/>
        <a:p>
          <a:endParaRPr lang="zh-CN" altLang="en-US"/>
        </a:p>
      </dgm:t>
    </dgm:pt>
    <dgm:pt modelId="{E582B19B-095F-4753-8925-4A93588DC1F1}" type="sibTrans" cxnId="{FD46EF17-83C2-4543-91AF-53895ACE8C90}">
      <dgm:prSet/>
      <dgm:spPr/>
      <dgm:t>
        <a:bodyPr/>
        <a:lstStyle/>
        <a:p>
          <a:endParaRPr lang="zh-CN" altLang="en-US"/>
        </a:p>
      </dgm:t>
    </dgm:pt>
    <dgm:pt modelId="{D10EEE64-8A86-4988-AB41-4267C4B17665}">
      <dgm:prSet/>
      <dgm:spPr/>
      <dgm:t>
        <a:bodyPr/>
        <a:lstStyle/>
        <a:p>
          <a:r>
            <a:rPr lang="en-US" altLang="zh-CN" dirty="0" smtClean="0"/>
            <a:t>Get the model performance</a:t>
          </a:r>
          <a:endParaRPr lang="zh-CN" altLang="en-US" dirty="0"/>
        </a:p>
      </dgm:t>
    </dgm:pt>
    <dgm:pt modelId="{87E3E5AC-A168-4AB8-BECE-D7D873D78DA8}" type="parTrans" cxnId="{3791DF47-2B92-4EAA-A962-C996C3A70BFE}">
      <dgm:prSet/>
      <dgm:spPr/>
      <dgm:t>
        <a:bodyPr/>
        <a:lstStyle/>
        <a:p>
          <a:endParaRPr lang="zh-CN" altLang="en-US"/>
        </a:p>
      </dgm:t>
    </dgm:pt>
    <dgm:pt modelId="{D2767F1B-876A-42D6-BF4D-FA711CF24BA7}" type="sibTrans" cxnId="{3791DF47-2B92-4EAA-A962-C996C3A70BFE}">
      <dgm:prSet/>
      <dgm:spPr/>
      <dgm:t>
        <a:bodyPr/>
        <a:lstStyle/>
        <a:p>
          <a:endParaRPr lang="zh-CN" altLang="en-US"/>
        </a:p>
      </dgm:t>
    </dgm:pt>
    <dgm:pt modelId="{1C73FB4D-CEB0-4B24-B2B4-33E30D444C20}">
      <dgm:prSet/>
      <dgm:spPr/>
      <dgm:t>
        <a:bodyPr/>
        <a:lstStyle/>
        <a:p>
          <a:r>
            <a:rPr lang="en-US" altLang="zh-CN" dirty="0" smtClean="0"/>
            <a:t>Based on the true label, first-stage flag and the prediction in the second-stage</a:t>
          </a:r>
          <a:endParaRPr lang="zh-CN" altLang="en-US" dirty="0"/>
        </a:p>
      </dgm:t>
    </dgm:pt>
    <dgm:pt modelId="{98EC3DAA-921F-40BF-9402-F19293100428}" type="parTrans" cxnId="{76123D82-CE85-42D5-A664-74953070CBE8}">
      <dgm:prSet/>
      <dgm:spPr/>
      <dgm:t>
        <a:bodyPr/>
        <a:lstStyle/>
        <a:p>
          <a:endParaRPr lang="zh-CN" altLang="en-US"/>
        </a:p>
      </dgm:t>
    </dgm:pt>
    <dgm:pt modelId="{2CA8A20F-F9DD-4F99-BB41-5D51FA7FE80E}" type="sibTrans" cxnId="{76123D82-CE85-42D5-A664-74953070CBE8}">
      <dgm:prSet/>
      <dgm:spPr/>
      <dgm:t>
        <a:bodyPr/>
        <a:lstStyle/>
        <a:p>
          <a:endParaRPr lang="zh-CN" altLang="en-US"/>
        </a:p>
      </dgm:t>
    </dgm:pt>
    <dgm:pt modelId="{4A83FE55-C4E9-465F-8488-C9A9CA2CB012}" type="pres">
      <dgm:prSet presAssocID="{491150FE-21C2-4D8F-820D-A3295124A53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B05938F-24D1-4896-86BB-DEE3022E8681}" type="pres">
      <dgm:prSet presAssocID="{B369683B-A329-4D05-BF1F-D43C4289B99B}" presName="parentLin" presStyleCnt="0"/>
      <dgm:spPr/>
    </dgm:pt>
    <dgm:pt modelId="{E021BB6F-A4E8-4A05-B1E6-937B897D08DF}" type="pres">
      <dgm:prSet presAssocID="{B369683B-A329-4D05-BF1F-D43C4289B99B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838BA386-8293-41B8-BBEC-AAD5B4AEBC2E}" type="pres">
      <dgm:prSet presAssocID="{B369683B-A329-4D05-BF1F-D43C4289B99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6B9CFBB-33C4-4818-9375-17025B3ED8DF}" type="pres">
      <dgm:prSet presAssocID="{B369683B-A329-4D05-BF1F-D43C4289B99B}" presName="negativeSpace" presStyleCnt="0"/>
      <dgm:spPr/>
    </dgm:pt>
    <dgm:pt modelId="{2ABA33D8-5AD9-4D92-B91C-220FB1D8DF59}" type="pres">
      <dgm:prSet presAssocID="{B369683B-A329-4D05-BF1F-D43C4289B99B}" presName="childText" presStyleLbl="conFgAcc1" presStyleIdx="0" presStyleCnt="3" custLinFactNeighborY="5106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F91D41B-0988-44A2-A155-625BBE5B6C23}" type="pres">
      <dgm:prSet presAssocID="{656E0603-134B-495D-81CA-082A21F16322}" presName="spaceBetweenRectangles" presStyleCnt="0"/>
      <dgm:spPr/>
    </dgm:pt>
    <dgm:pt modelId="{6BCC2879-5948-4C3E-ABAA-E18E86B24151}" type="pres">
      <dgm:prSet presAssocID="{3B19AAAB-943D-4849-B603-2D9D37FD3D1E}" presName="parentLin" presStyleCnt="0"/>
      <dgm:spPr/>
    </dgm:pt>
    <dgm:pt modelId="{3D1B0515-F8A5-486A-B48C-16D6798210D7}" type="pres">
      <dgm:prSet presAssocID="{3B19AAAB-943D-4849-B603-2D9D37FD3D1E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5CE4F8C0-A560-417F-A8E1-590CEEB269B2}" type="pres">
      <dgm:prSet presAssocID="{3B19AAAB-943D-4849-B603-2D9D37FD3D1E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55AA5A-E7D4-4B54-84D5-50273E3B348A}" type="pres">
      <dgm:prSet presAssocID="{3B19AAAB-943D-4849-B603-2D9D37FD3D1E}" presName="negativeSpace" presStyleCnt="0"/>
      <dgm:spPr/>
    </dgm:pt>
    <dgm:pt modelId="{880D8732-D286-47D7-9065-F9BE0F7D6AF4}" type="pres">
      <dgm:prSet presAssocID="{3B19AAAB-943D-4849-B603-2D9D37FD3D1E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BA4675C-D32A-4D7E-8268-BF508549A5E4}" type="pres">
      <dgm:prSet presAssocID="{65A4C222-C921-4E06-ACED-B45B08E6E977}" presName="spaceBetweenRectangles" presStyleCnt="0"/>
      <dgm:spPr/>
    </dgm:pt>
    <dgm:pt modelId="{B448A3DB-6AE5-4B6A-8CF7-3027EEF9F85F}" type="pres">
      <dgm:prSet presAssocID="{D10EEE64-8A86-4988-AB41-4267C4B17665}" presName="parentLin" presStyleCnt="0"/>
      <dgm:spPr/>
    </dgm:pt>
    <dgm:pt modelId="{8C3708FF-7AC9-4674-9D9F-B9EC709BA096}" type="pres">
      <dgm:prSet presAssocID="{D10EEE64-8A86-4988-AB41-4267C4B17665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255098DD-B8AF-4D8A-99AE-E74DEF851DB5}" type="pres">
      <dgm:prSet presAssocID="{D10EEE64-8A86-4988-AB41-4267C4B17665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EF4B2E1-9E69-47A3-AC6F-918FDFA8DF90}" type="pres">
      <dgm:prSet presAssocID="{D10EEE64-8A86-4988-AB41-4267C4B17665}" presName="negativeSpace" presStyleCnt="0"/>
      <dgm:spPr/>
    </dgm:pt>
    <dgm:pt modelId="{1DBAEE25-FFCA-4140-8925-B8C6995E28DD}" type="pres">
      <dgm:prSet presAssocID="{D10EEE64-8A86-4988-AB41-4267C4B17665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808251F9-26A6-4400-BEDA-3A9BA40FFDB3}" srcId="{B369683B-A329-4D05-BF1F-D43C4289B99B}" destId="{2BEEDB59-5E77-46E6-BC33-7896E52DCD00}" srcOrd="2" destOrd="0" parTransId="{B6C64BD2-ADFC-4183-AC16-9D61F12F53EF}" sibTransId="{62D85025-F671-435D-87E7-DA01596ACFC0}"/>
    <dgm:cxn modelId="{85886EAD-E21E-4E6A-9A20-2FF5A9AD6F31}" srcId="{491150FE-21C2-4D8F-820D-A3295124A53A}" destId="{B369683B-A329-4D05-BF1F-D43C4289B99B}" srcOrd="0" destOrd="0" parTransId="{585E288F-0932-4EE6-83A0-091F42ADB193}" sibTransId="{656E0603-134B-495D-81CA-082A21F16322}"/>
    <dgm:cxn modelId="{1A2E181C-F4CD-4200-98FB-37D11472EF1E}" srcId="{B369683B-A329-4D05-BF1F-D43C4289B99B}" destId="{6CB73D3A-7EA7-4CC0-8861-0CB5CD5859BE}" srcOrd="3" destOrd="0" parTransId="{D85637DD-75CD-490C-9E3C-EFF0A3E74EC3}" sibTransId="{C36DB068-F2E9-4CAD-910D-E31DE4E9F575}"/>
    <dgm:cxn modelId="{7AD79D46-9DD2-43F1-8F04-EAA3B3924157}" type="presOf" srcId="{9F1BB9C2-4B75-44FD-9CF1-72EE927220A5}" destId="{2ABA33D8-5AD9-4D92-B91C-220FB1D8DF59}" srcOrd="0" destOrd="0" presId="urn:microsoft.com/office/officeart/2005/8/layout/list1"/>
    <dgm:cxn modelId="{3E907455-DE1E-4A4F-8ED5-57622FE7FC00}" type="presOf" srcId="{1C73FB4D-CEB0-4B24-B2B4-33E30D444C20}" destId="{1DBAEE25-FFCA-4140-8925-B8C6995E28DD}" srcOrd="0" destOrd="0" presId="urn:microsoft.com/office/officeart/2005/8/layout/list1"/>
    <dgm:cxn modelId="{047C2B02-9389-4615-9876-79953A806E76}" type="presOf" srcId="{6CB73D3A-7EA7-4CC0-8861-0CB5CD5859BE}" destId="{2ABA33D8-5AD9-4D92-B91C-220FB1D8DF59}" srcOrd="0" destOrd="3" presId="urn:microsoft.com/office/officeart/2005/8/layout/list1"/>
    <dgm:cxn modelId="{781E18A5-EAA9-42AA-A3A5-8E6DDE1D3688}" type="presOf" srcId="{F3B50852-E69D-4654-8468-690F2AC4D22E}" destId="{2ABA33D8-5AD9-4D92-B91C-220FB1D8DF59}" srcOrd="0" destOrd="1" presId="urn:microsoft.com/office/officeart/2005/8/layout/list1"/>
    <dgm:cxn modelId="{B7B99674-D1B9-49BD-9288-18EC1DE49B99}" type="presOf" srcId="{491150FE-21C2-4D8F-820D-A3295124A53A}" destId="{4A83FE55-C4E9-465F-8488-C9A9CA2CB012}" srcOrd="0" destOrd="0" presId="urn:microsoft.com/office/officeart/2005/8/layout/list1"/>
    <dgm:cxn modelId="{2E5199E4-9A30-4C33-A6B0-30D3C205D55F}" srcId="{491150FE-21C2-4D8F-820D-A3295124A53A}" destId="{3B19AAAB-943D-4849-B603-2D9D37FD3D1E}" srcOrd="1" destOrd="0" parTransId="{A0D6AB05-F009-4777-A620-A912400D449F}" sibTransId="{65A4C222-C921-4E06-ACED-B45B08E6E977}"/>
    <dgm:cxn modelId="{F1863CC9-12A3-4145-88DB-FA08030EDEDE}" type="presOf" srcId="{3B19AAAB-943D-4849-B603-2D9D37FD3D1E}" destId="{3D1B0515-F8A5-486A-B48C-16D6798210D7}" srcOrd="0" destOrd="0" presId="urn:microsoft.com/office/officeart/2005/8/layout/list1"/>
    <dgm:cxn modelId="{E6398A4D-EA2E-444E-84C0-7B4036C3B72E}" type="presOf" srcId="{D10EEE64-8A86-4988-AB41-4267C4B17665}" destId="{255098DD-B8AF-4D8A-99AE-E74DEF851DB5}" srcOrd="1" destOrd="0" presId="urn:microsoft.com/office/officeart/2005/8/layout/list1"/>
    <dgm:cxn modelId="{76123D82-CE85-42D5-A664-74953070CBE8}" srcId="{D10EEE64-8A86-4988-AB41-4267C4B17665}" destId="{1C73FB4D-CEB0-4B24-B2B4-33E30D444C20}" srcOrd="0" destOrd="0" parTransId="{98EC3DAA-921F-40BF-9402-F19293100428}" sibTransId="{2CA8A20F-F9DD-4F99-BB41-5D51FA7FE80E}"/>
    <dgm:cxn modelId="{3791DF47-2B92-4EAA-A962-C996C3A70BFE}" srcId="{491150FE-21C2-4D8F-820D-A3295124A53A}" destId="{D10EEE64-8A86-4988-AB41-4267C4B17665}" srcOrd="2" destOrd="0" parTransId="{87E3E5AC-A168-4AB8-BECE-D7D873D78DA8}" sibTransId="{D2767F1B-876A-42D6-BF4D-FA711CF24BA7}"/>
    <dgm:cxn modelId="{4A013815-7F88-4CC9-96DD-D70D63C915A7}" type="presOf" srcId="{34E0ACCE-7E71-43E5-B05C-D2EA63626A5C}" destId="{880D8732-D286-47D7-9065-F9BE0F7D6AF4}" srcOrd="0" destOrd="0" presId="urn:microsoft.com/office/officeart/2005/8/layout/list1"/>
    <dgm:cxn modelId="{FAA41E29-71AA-4041-BF42-9F26D5E1C9C8}" type="presOf" srcId="{D10EEE64-8A86-4988-AB41-4267C4B17665}" destId="{8C3708FF-7AC9-4674-9D9F-B9EC709BA096}" srcOrd="0" destOrd="0" presId="urn:microsoft.com/office/officeart/2005/8/layout/list1"/>
    <dgm:cxn modelId="{36474555-6386-4314-8F34-2A038A1CF3DF}" srcId="{B369683B-A329-4D05-BF1F-D43C4289B99B}" destId="{F3B50852-E69D-4654-8468-690F2AC4D22E}" srcOrd="1" destOrd="0" parTransId="{B2697863-40CD-45A1-9BFB-DED5411C1BF7}" sibTransId="{9C95A368-12CE-4155-B58B-74913685FB94}"/>
    <dgm:cxn modelId="{CC294B8F-ADB1-4E80-81FE-1822B1BEC0A1}" srcId="{3B19AAAB-943D-4849-B603-2D9D37FD3D1E}" destId="{34E0ACCE-7E71-43E5-B05C-D2EA63626A5C}" srcOrd="0" destOrd="0" parTransId="{34E62E05-314D-44CE-B5CE-FD6DD36F41D2}" sibTransId="{D26D27F5-AA81-4561-B68B-B094B6A73BA8}"/>
    <dgm:cxn modelId="{64998CA3-A19E-4B41-8483-8025FD11081C}" type="presOf" srcId="{3B19AAAB-943D-4849-B603-2D9D37FD3D1E}" destId="{5CE4F8C0-A560-417F-A8E1-590CEEB269B2}" srcOrd="1" destOrd="0" presId="urn:microsoft.com/office/officeart/2005/8/layout/list1"/>
    <dgm:cxn modelId="{E9B9CF9B-8C63-4358-A0AC-507CEF78BAE9}" type="presOf" srcId="{A34DC94A-A147-468E-8258-EDB95D1DC200}" destId="{880D8732-D286-47D7-9065-F9BE0F7D6AF4}" srcOrd="0" destOrd="1" presId="urn:microsoft.com/office/officeart/2005/8/layout/list1"/>
    <dgm:cxn modelId="{A4F89032-02D2-4117-9A8A-D9C79B0BEDDA}" srcId="{B369683B-A329-4D05-BF1F-D43C4289B99B}" destId="{9F1BB9C2-4B75-44FD-9CF1-72EE927220A5}" srcOrd="0" destOrd="0" parTransId="{6E308523-4A86-4E59-9C60-A102B4612EC7}" sibTransId="{DD943F6D-CA94-41B7-9581-D65F8F544A89}"/>
    <dgm:cxn modelId="{5E6B2E69-F31C-4746-9838-B898B22CDCB0}" type="presOf" srcId="{2BEEDB59-5E77-46E6-BC33-7896E52DCD00}" destId="{2ABA33D8-5AD9-4D92-B91C-220FB1D8DF59}" srcOrd="0" destOrd="2" presId="urn:microsoft.com/office/officeart/2005/8/layout/list1"/>
    <dgm:cxn modelId="{FD46EF17-83C2-4543-91AF-53895ACE8C90}" srcId="{3B19AAAB-943D-4849-B603-2D9D37FD3D1E}" destId="{A34DC94A-A147-468E-8258-EDB95D1DC200}" srcOrd="1" destOrd="0" parTransId="{EB7CCC58-6DD7-42CE-AFF7-8FCBC431F511}" sibTransId="{E582B19B-095F-4753-8925-4A93588DC1F1}"/>
    <dgm:cxn modelId="{99CBB141-484E-4991-8B5E-7A8A626CB39F}" type="presOf" srcId="{B369683B-A329-4D05-BF1F-D43C4289B99B}" destId="{838BA386-8293-41B8-BBEC-AAD5B4AEBC2E}" srcOrd="1" destOrd="0" presId="urn:microsoft.com/office/officeart/2005/8/layout/list1"/>
    <dgm:cxn modelId="{F21F1B2B-4CF7-40DA-90A5-D6C2431F2B95}" type="presOf" srcId="{B369683B-A329-4D05-BF1F-D43C4289B99B}" destId="{E021BB6F-A4E8-4A05-B1E6-937B897D08DF}" srcOrd="0" destOrd="0" presId="urn:microsoft.com/office/officeart/2005/8/layout/list1"/>
    <dgm:cxn modelId="{AAB69C0F-3EE5-411B-9E4F-0D01FAD5D040}" type="presParOf" srcId="{4A83FE55-C4E9-465F-8488-C9A9CA2CB012}" destId="{CB05938F-24D1-4896-86BB-DEE3022E8681}" srcOrd="0" destOrd="0" presId="urn:microsoft.com/office/officeart/2005/8/layout/list1"/>
    <dgm:cxn modelId="{B9786447-9BE1-4DAF-81E7-0D6962C3A014}" type="presParOf" srcId="{CB05938F-24D1-4896-86BB-DEE3022E8681}" destId="{E021BB6F-A4E8-4A05-B1E6-937B897D08DF}" srcOrd="0" destOrd="0" presId="urn:microsoft.com/office/officeart/2005/8/layout/list1"/>
    <dgm:cxn modelId="{6CCD7DB8-0273-41C1-98F5-7F4050984631}" type="presParOf" srcId="{CB05938F-24D1-4896-86BB-DEE3022E8681}" destId="{838BA386-8293-41B8-BBEC-AAD5B4AEBC2E}" srcOrd="1" destOrd="0" presId="urn:microsoft.com/office/officeart/2005/8/layout/list1"/>
    <dgm:cxn modelId="{B22C4F1B-03DE-429E-8D00-B9594ABE0EA5}" type="presParOf" srcId="{4A83FE55-C4E9-465F-8488-C9A9CA2CB012}" destId="{36B9CFBB-33C4-4818-9375-17025B3ED8DF}" srcOrd="1" destOrd="0" presId="urn:microsoft.com/office/officeart/2005/8/layout/list1"/>
    <dgm:cxn modelId="{B3DE5879-C02A-4522-A6C2-E9DBAD1EE2C4}" type="presParOf" srcId="{4A83FE55-C4E9-465F-8488-C9A9CA2CB012}" destId="{2ABA33D8-5AD9-4D92-B91C-220FB1D8DF59}" srcOrd="2" destOrd="0" presId="urn:microsoft.com/office/officeart/2005/8/layout/list1"/>
    <dgm:cxn modelId="{78921D27-C2C1-4FBC-9FB6-575C0B1E481E}" type="presParOf" srcId="{4A83FE55-C4E9-465F-8488-C9A9CA2CB012}" destId="{FF91D41B-0988-44A2-A155-625BBE5B6C23}" srcOrd="3" destOrd="0" presId="urn:microsoft.com/office/officeart/2005/8/layout/list1"/>
    <dgm:cxn modelId="{2D1BDF3E-9946-4226-A13F-DB98B7B6330A}" type="presParOf" srcId="{4A83FE55-C4E9-465F-8488-C9A9CA2CB012}" destId="{6BCC2879-5948-4C3E-ABAA-E18E86B24151}" srcOrd="4" destOrd="0" presId="urn:microsoft.com/office/officeart/2005/8/layout/list1"/>
    <dgm:cxn modelId="{A6506A1B-0D99-4781-AF91-32B5EA274337}" type="presParOf" srcId="{6BCC2879-5948-4C3E-ABAA-E18E86B24151}" destId="{3D1B0515-F8A5-486A-B48C-16D6798210D7}" srcOrd="0" destOrd="0" presId="urn:microsoft.com/office/officeart/2005/8/layout/list1"/>
    <dgm:cxn modelId="{8F5C3B29-584A-4C13-B274-5AD81FBBB7DD}" type="presParOf" srcId="{6BCC2879-5948-4C3E-ABAA-E18E86B24151}" destId="{5CE4F8C0-A560-417F-A8E1-590CEEB269B2}" srcOrd="1" destOrd="0" presId="urn:microsoft.com/office/officeart/2005/8/layout/list1"/>
    <dgm:cxn modelId="{0B89343F-CFCD-42DC-BD42-9ED234475DAA}" type="presParOf" srcId="{4A83FE55-C4E9-465F-8488-C9A9CA2CB012}" destId="{F155AA5A-E7D4-4B54-84D5-50273E3B348A}" srcOrd="5" destOrd="0" presId="urn:microsoft.com/office/officeart/2005/8/layout/list1"/>
    <dgm:cxn modelId="{ABF4C1FA-6804-46A9-85D5-ECFDD7503C2B}" type="presParOf" srcId="{4A83FE55-C4E9-465F-8488-C9A9CA2CB012}" destId="{880D8732-D286-47D7-9065-F9BE0F7D6AF4}" srcOrd="6" destOrd="0" presId="urn:microsoft.com/office/officeart/2005/8/layout/list1"/>
    <dgm:cxn modelId="{B2A5E6F5-089C-475A-83CE-878DDB6EAA9B}" type="presParOf" srcId="{4A83FE55-C4E9-465F-8488-C9A9CA2CB012}" destId="{2BA4675C-D32A-4D7E-8268-BF508549A5E4}" srcOrd="7" destOrd="0" presId="urn:microsoft.com/office/officeart/2005/8/layout/list1"/>
    <dgm:cxn modelId="{233FED87-16A1-4717-8E9F-D72DEF1B897F}" type="presParOf" srcId="{4A83FE55-C4E9-465F-8488-C9A9CA2CB012}" destId="{B448A3DB-6AE5-4B6A-8CF7-3027EEF9F85F}" srcOrd="8" destOrd="0" presId="urn:microsoft.com/office/officeart/2005/8/layout/list1"/>
    <dgm:cxn modelId="{08B40FC1-F75C-466F-9CD2-E08053B29D7A}" type="presParOf" srcId="{B448A3DB-6AE5-4B6A-8CF7-3027EEF9F85F}" destId="{8C3708FF-7AC9-4674-9D9F-B9EC709BA096}" srcOrd="0" destOrd="0" presId="urn:microsoft.com/office/officeart/2005/8/layout/list1"/>
    <dgm:cxn modelId="{DACC3C6D-34FE-4DC6-BB53-211152FC0A42}" type="presParOf" srcId="{B448A3DB-6AE5-4B6A-8CF7-3027EEF9F85F}" destId="{255098DD-B8AF-4D8A-99AE-E74DEF851DB5}" srcOrd="1" destOrd="0" presId="urn:microsoft.com/office/officeart/2005/8/layout/list1"/>
    <dgm:cxn modelId="{0A3778F5-FD85-4A19-B010-0FA1ED33CE09}" type="presParOf" srcId="{4A83FE55-C4E9-465F-8488-C9A9CA2CB012}" destId="{9EF4B2E1-9E69-47A3-AC6F-918FDFA8DF90}" srcOrd="9" destOrd="0" presId="urn:microsoft.com/office/officeart/2005/8/layout/list1"/>
    <dgm:cxn modelId="{20A6597F-D5B0-4826-991E-532AD432F962}" type="presParOf" srcId="{4A83FE55-C4E9-465F-8488-C9A9CA2CB012}" destId="{1DBAEE25-FFCA-4140-8925-B8C6995E28D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263F1A-4349-428E-90A7-6926B43A1921}" type="doc">
      <dgm:prSet loTypeId="urn:microsoft.com/office/officeart/2005/8/layout/chevron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D0EC11B3-4520-40CB-BE10-50ABF95A3782}">
      <dgm:prSet phldrT="[Text]"/>
      <dgm:spPr/>
      <dgm:t>
        <a:bodyPr/>
        <a:lstStyle/>
        <a:p>
          <a:r>
            <a:rPr lang="en-US" altLang="zh-CN" dirty="0" smtClean="0"/>
            <a:t>why</a:t>
          </a:r>
          <a:endParaRPr lang="zh-CN" altLang="en-US" dirty="0"/>
        </a:p>
      </dgm:t>
    </dgm:pt>
    <dgm:pt modelId="{7334D9FF-77E8-40D7-BEB9-0A17D927D7AF}" type="parTrans" cxnId="{76607052-E2F3-4576-9C05-36780F804286}">
      <dgm:prSet/>
      <dgm:spPr/>
      <dgm:t>
        <a:bodyPr/>
        <a:lstStyle/>
        <a:p>
          <a:endParaRPr lang="zh-CN" altLang="en-US"/>
        </a:p>
      </dgm:t>
    </dgm:pt>
    <dgm:pt modelId="{263A1C64-DDA4-4243-9EBB-A3D61C67C7B1}" type="sibTrans" cxnId="{76607052-E2F3-4576-9C05-36780F804286}">
      <dgm:prSet/>
      <dgm:spPr/>
      <dgm:t>
        <a:bodyPr/>
        <a:lstStyle/>
        <a:p>
          <a:endParaRPr lang="zh-CN" altLang="en-US"/>
        </a:p>
      </dgm:t>
    </dgm:pt>
    <dgm:pt modelId="{BF2FF06E-7599-4C11-9F3D-42A58688CC4F}">
      <dgm:prSet phldrT="[Text]"/>
      <dgm:spPr/>
      <dgm:t>
        <a:bodyPr/>
        <a:lstStyle/>
        <a:p>
          <a:r>
            <a:rPr lang="en-US" altLang="zh-CN" dirty="0" smtClean="0"/>
            <a:t>Pay attention to precision on targeting recall</a:t>
          </a:r>
          <a:endParaRPr lang="zh-CN" altLang="en-US" dirty="0"/>
        </a:p>
      </dgm:t>
    </dgm:pt>
    <dgm:pt modelId="{78823FA7-C641-455F-96A5-F65911CB6E0C}" type="parTrans" cxnId="{D4B106FB-6FCD-4B8B-9455-7E8C1A8C959C}">
      <dgm:prSet/>
      <dgm:spPr/>
      <dgm:t>
        <a:bodyPr/>
        <a:lstStyle/>
        <a:p>
          <a:endParaRPr lang="zh-CN" altLang="en-US"/>
        </a:p>
      </dgm:t>
    </dgm:pt>
    <dgm:pt modelId="{F81F95CB-4F36-47B7-B9F8-EE680E249846}" type="sibTrans" cxnId="{D4B106FB-6FCD-4B8B-9455-7E8C1A8C959C}">
      <dgm:prSet/>
      <dgm:spPr/>
      <dgm:t>
        <a:bodyPr/>
        <a:lstStyle/>
        <a:p>
          <a:endParaRPr lang="zh-CN" altLang="en-US"/>
        </a:p>
      </dgm:t>
    </dgm:pt>
    <dgm:pt modelId="{ECD5747A-C8AC-46A6-AD56-E894EB27DFBC}">
      <dgm:prSet phldrT="[Text]"/>
      <dgm:spPr/>
      <dgm:t>
        <a:bodyPr/>
        <a:lstStyle/>
        <a:p>
          <a:r>
            <a:rPr lang="en-US" altLang="zh-CN" dirty="0" smtClean="0"/>
            <a:t>No need to recall all the positive ones</a:t>
          </a:r>
          <a:endParaRPr lang="zh-CN" altLang="en-US" dirty="0"/>
        </a:p>
      </dgm:t>
    </dgm:pt>
    <dgm:pt modelId="{6F83D460-C1F8-4C6A-94AA-2887115497B7}" type="parTrans" cxnId="{D2D8E239-FA06-40DF-A3ED-47079C330286}">
      <dgm:prSet/>
      <dgm:spPr/>
      <dgm:t>
        <a:bodyPr/>
        <a:lstStyle/>
        <a:p>
          <a:endParaRPr lang="zh-CN" altLang="en-US"/>
        </a:p>
      </dgm:t>
    </dgm:pt>
    <dgm:pt modelId="{744DF9AD-E139-4461-A99F-528FF76D126C}" type="sibTrans" cxnId="{D2D8E239-FA06-40DF-A3ED-47079C330286}">
      <dgm:prSet/>
      <dgm:spPr/>
      <dgm:t>
        <a:bodyPr/>
        <a:lstStyle/>
        <a:p>
          <a:endParaRPr lang="zh-CN" altLang="en-US"/>
        </a:p>
      </dgm:t>
    </dgm:pt>
    <dgm:pt modelId="{22C56A98-5F35-4B24-9364-5935710CF20C}">
      <dgm:prSet phldrT="[Text]"/>
      <dgm:spPr/>
      <dgm:t>
        <a:bodyPr/>
        <a:lstStyle/>
        <a:p>
          <a:r>
            <a:rPr lang="en-US" altLang="zh-CN" dirty="0" smtClean="0"/>
            <a:t>how</a:t>
          </a:r>
          <a:endParaRPr lang="zh-CN" altLang="en-US" dirty="0"/>
        </a:p>
      </dgm:t>
    </dgm:pt>
    <dgm:pt modelId="{F24BC28F-D44E-42D6-A021-E7AD8C80B864}" type="parTrans" cxnId="{9031D090-B054-42E2-86F6-39D157043E05}">
      <dgm:prSet/>
      <dgm:spPr/>
      <dgm:t>
        <a:bodyPr/>
        <a:lstStyle/>
        <a:p>
          <a:endParaRPr lang="zh-CN" altLang="en-US"/>
        </a:p>
      </dgm:t>
    </dgm:pt>
    <dgm:pt modelId="{B2AB626D-26A1-49E6-8813-8CA4BBD1AD16}" type="sibTrans" cxnId="{9031D090-B054-42E2-86F6-39D157043E05}">
      <dgm:prSet/>
      <dgm:spPr/>
      <dgm:t>
        <a:bodyPr/>
        <a:lstStyle/>
        <a:p>
          <a:endParaRPr lang="zh-CN" altLang="en-US"/>
        </a:p>
      </dgm:t>
    </dgm:pt>
    <dgm:pt modelId="{800799A7-D1DA-4513-8383-B627E63FF8D5}">
      <dgm:prSet phldrT="[Text]"/>
      <dgm:spPr/>
      <dgm:t>
        <a:bodyPr/>
        <a:lstStyle/>
        <a:p>
          <a:r>
            <a:rPr lang="en-US" altLang="zh-CN" dirty="0" smtClean="0"/>
            <a:t>Do selection/weighting before model training</a:t>
          </a:r>
          <a:endParaRPr lang="zh-CN" altLang="en-US" dirty="0"/>
        </a:p>
      </dgm:t>
    </dgm:pt>
    <dgm:pt modelId="{BEAE264D-4109-408A-A2F2-AC87B9D7D865}" type="parTrans" cxnId="{87902546-C724-4C88-93F3-33227501417C}">
      <dgm:prSet/>
      <dgm:spPr/>
      <dgm:t>
        <a:bodyPr/>
        <a:lstStyle/>
        <a:p>
          <a:endParaRPr lang="zh-CN" altLang="en-US"/>
        </a:p>
      </dgm:t>
    </dgm:pt>
    <dgm:pt modelId="{D468C5E6-D8A5-46F8-B95C-5154F049E412}" type="sibTrans" cxnId="{87902546-C724-4C88-93F3-33227501417C}">
      <dgm:prSet/>
      <dgm:spPr/>
      <dgm:t>
        <a:bodyPr/>
        <a:lstStyle/>
        <a:p>
          <a:endParaRPr lang="zh-CN" altLang="en-US"/>
        </a:p>
      </dgm:t>
    </dgm:pt>
    <dgm:pt modelId="{2F6B8F49-B03D-44DE-A861-1D2F6047F92B}">
      <dgm:prSet phldrT="[Text]"/>
      <dgm:spPr/>
      <dgm:t>
        <a:bodyPr/>
        <a:lstStyle/>
        <a:p>
          <a:r>
            <a:rPr lang="en-US" altLang="zh-CN" dirty="0" smtClean="0"/>
            <a:t>e.g. KNN/similarity model</a:t>
          </a:r>
          <a:endParaRPr lang="zh-CN" altLang="en-US" dirty="0"/>
        </a:p>
      </dgm:t>
    </dgm:pt>
    <dgm:pt modelId="{6E015563-04AC-41D2-80BF-971EA699EA49}" type="parTrans" cxnId="{C921BAEA-8E81-4E04-B25F-8BAC12080F53}">
      <dgm:prSet/>
      <dgm:spPr/>
      <dgm:t>
        <a:bodyPr/>
        <a:lstStyle/>
        <a:p>
          <a:endParaRPr lang="zh-CN" altLang="en-US"/>
        </a:p>
      </dgm:t>
    </dgm:pt>
    <dgm:pt modelId="{94E8AB73-906B-4CBE-AA8E-55A7F033922F}" type="sibTrans" cxnId="{C921BAEA-8E81-4E04-B25F-8BAC12080F53}">
      <dgm:prSet/>
      <dgm:spPr/>
      <dgm:t>
        <a:bodyPr/>
        <a:lstStyle/>
        <a:p>
          <a:endParaRPr lang="zh-CN" altLang="en-US"/>
        </a:p>
      </dgm:t>
    </dgm:pt>
    <dgm:pt modelId="{200BBA73-543E-41CF-A0C3-DB303BA1789B}">
      <dgm:prSet phldrT="[Text]"/>
      <dgm:spPr/>
      <dgm:t>
        <a:bodyPr/>
        <a:lstStyle/>
        <a:p>
          <a:r>
            <a:rPr lang="en-US" altLang="zh-CN" dirty="0" smtClean="0"/>
            <a:t>Split evaluation and validation folds,</a:t>
          </a:r>
          <a:endParaRPr lang="zh-CN" altLang="en-US" dirty="0"/>
        </a:p>
      </dgm:t>
    </dgm:pt>
    <dgm:pt modelId="{063237AC-1BE4-473A-9784-6EA133065B64}" type="parTrans" cxnId="{AFB93EC6-D2C1-4D15-9F8C-CF614C6B9210}">
      <dgm:prSet/>
      <dgm:spPr/>
      <dgm:t>
        <a:bodyPr/>
        <a:lstStyle/>
        <a:p>
          <a:endParaRPr lang="zh-CN" altLang="en-US"/>
        </a:p>
      </dgm:t>
    </dgm:pt>
    <dgm:pt modelId="{C308C988-4F59-4E2F-AD1F-ADA8660C0BEB}" type="sibTrans" cxnId="{AFB93EC6-D2C1-4D15-9F8C-CF614C6B9210}">
      <dgm:prSet/>
      <dgm:spPr/>
      <dgm:t>
        <a:bodyPr/>
        <a:lstStyle/>
        <a:p>
          <a:endParaRPr lang="zh-CN" altLang="en-US"/>
        </a:p>
      </dgm:t>
    </dgm:pt>
    <dgm:pt modelId="{CDF46C14-66F4-4263-9B69-4D0B1C2470F3}">
      <dgm:prSet/>
      <dgm:spPr/>
      <dgm:t>
        <a:bodyPr/>
        <a:lstStyle/>
        <a:p>
          <a:r>
            <a:rPr lang="en-US" altLang="zh-CN" dirty="0" smtClean="0"/>
            <a:t>object</a:t>
          </a:r>
          <a:endParaRPr lang="zh-CN" altLang="en-US" dirty="0"/>
        </a:p>
      </dgm:t>
    </dgm:pt>
    <dgm:pt modelId="{90C8F5E5-9C74-4D01-B735-D6E75011269E}" type="parTrans" cxnId="{4A81C39A-3B66-4C46-992C-239FCBAC6992}">
      <dgm:prSet/>
      <dgm:spPr/>
      <dgm:t>
        <a:bodyPr/>
        <a:lstStyle/>
        <a:p>
          <a:endParaRPr lang="zh-CN" altLang="en-US"/>
        </a:p>
      </dgm:t>
    </dgm:pt>
    <dgm:pt modelId="{8E2A0C41-2638-4919-9CB7-29103DCF6CA6}" type="sibTrans" cxnId="{4A81C39A-3B66-4C46-992C-239FCBAC6992}">
      <dgm:prSet/>
      <dgm:spPr/>
      <dgm:t>
        <a:bodyPr/>
        <a:lstStyle/>
        <a:p>
          <a:endParaRPr lang="zh-CN" altLang="en-US"/>
        </a:p>
      </dgm:t>
    </dgm:pt>
    <dgm:pt modelId="{B41F1DE5-0F18-4847-B86B-6C05E2237BBA}">
      <dgm:prSet phldrT="[Text]"/>
      <dgm:spPr/>
      <dgm:t>
        <a:bodyPr/>
        <a:lstStyle/>
        <a:p>
          <a:r>
            <a:rPr lang="en-US" altLang="zh-CN" dirty="0" smtClean="0"/>
            <a:t>Pay attention</a:t>
          </a:r>
          <a:endParaRPr lang="zh-CN" altLang="en-US" dirty="0"/>
        </a:p>
      </dgm:t>
    </dgm:pt>
    <dgm:pt modelId="{051C8281-DE32-48AE-B99F-68E8B9DAE10C}" type="sibTrans" cxnId="{CF3D78C9-4D9E-4CC2-B500-E314E2FEBEEF}">
      <dgm:prSet/>
      <dgm:spPr/>
      <dgm:t>
        <a:bodyPr/>
        <a:lstStyle/>
        <a:p>
          <a:endParaRPr lang="zh-CN" altLang="en-US"/>
        </a:p>
      </dgm:t>
    </dgm:pt>
    <dgm:pt modelId="{EB84A0AB-FE52-4F72-8353-D74373A6B607}" type="parTrans" cxnId="{CF3D78C9-4D9E-4CC2-B500-E314E2FEBEEF}">
      <dgm:prSet/>
      <dgm:spPr/>
      <dgm:t>
        <a:bodyPr/>
        <a:lstStyle/>
        <a:p>
          <a:endParaRPr lang="zh-CN" altLang="en-US"/>
        </a:p>
      </dgm:t>
    </dgm:pt>
    <dgm:pt modelId="{BECC2D10-1661-4648-AC1E-62CF7EDCD27C}">
      <dgm:prSet/>
      <dgm:spPr/>
      <dgm:t>
        <a:bodyPr/>
        <a:lstStyle/>
        <a:p>
          <a:r>
            <a:rPr lang="en-US" altLang="zh-CN" smtClean="0"/>
            <a:t>For finding “easy” positive ones</a:t>
          </a:r>
          <a:endParaRPr lang="zh-CN" altLang="en-US"/>
        </a:p>
      </dgm:t>
    </dgm:pt>
    <dgm:pt modelId="{6B4066DC-3270-4647-9B06-51722F84F72F}" type="parTrans" cxnId="{20EEE5FF-6125-4197-83ED-770478D7B9D1}">
      <dgm:prSet/>
      <dgm:spPr/>
      <dgm:t>
        <a:bodyPr/>
        <a:lstStyle/>
        <a:p>
          <a:endParaRPr lang="zh-CN" altLang="en-US"/>
        </a:p>
      </dgm:t>
    </dgm:pt>
    <dgm:pt modelId="{6D2EEA21-70E1-4C9A-ADA7-343F623753AF}" type="sibTrans" cxnId="{20EEE5FF-6125-4197-83ED-770478D7B9D1}">
      <dgm:prSet/>
      <dgm:spPr/>
      <dgm:t>
        <a:bodyPr/>
        <a:lstStyle/>
        <a:p>
          <a:endParaRPr lang="zh-CN" altLang="en-US"/>
        </a:p>
      </dgm:t>
    </dgm:pt>
    <dgm:pt modelId="{28673A9F-B724-48A0-90A9-DF44A8FDA45F}">
      <dgm:prSet phldrT="[Text]"/>
      <dgm:spPr/>
      <dgm:t>
        <a:bodyPr/>
        <a:lstStyle/>
        <a:p>
          <a:r>
            <a:rPr lang="en-US" altLang="zh-CN" dirty="0" smtClean="0"/>
            <a:t> stratify samples according to the positive weights proportion</a:t>
          </a:r>
          <a:endParaRPr lang="zh-CN" altLang="en-US" dirty="0"/>
        </a:p>
      </dgm:t>
    </dgm:pt>
    <dgm:pt modelId="{1387194D-16F3-4BB3-852D-0A7F0FF6E920}" type="parTrans" cxnId="{F57F3A1E-DD80-4A7B-91FD-5ED3DDECB5FF}">
      <dgm:prSet/>
      <dgm:spPr/>
      <dgm:t>
        <a:bodyPr/>
        <a:lstStyle/>
        <a:p>
          <a:endParaRPr lang="zh-CN" altLang="en-US"/>
        </a:p>
      </dgm:t>
    </dgm:pt>
    <dgm:pt modelId="{6068AB98-55B0-4C5D-AF7C-61C0304A4E03}" type="sibTrans" cxnId="{F57F3A1E-DD80-4A7B-91FD-5ED3DDECB5FF}">
      <dgm:prSet/>
      <dgm:spPr/>
      <dgm:t>
        <a:bodyPr/>
        <a:lstStyle/>
        <a:p>
          <a:endParaRPr lang="zh-CN" altLang="en-US"/>
        </a:p>
      </dgm:t>
    </dgm:pt>
    <dgm:pt modelId="{509620E1-C087-448A-84E0-50E88923EEB0}">
      <dgm:prSet phldrT="[Text]"/>
      <dgm:spPr/>
      <dgm:t>
        <a:bodyPr/>
        <a:lstStyle/>
        <a:p>
          <a:r>
            <a:rPr lang="en-GB" altLang="zh-CN" dirty="0" smtClean="0"/>
            <a:t>measuring the local neighbourhood purity of every positive patient</a:t>
          </a:r>
          <a:endParaRPr lang="zh-CN" altLang="en-US" dirty="0"/>
        </a:p>
      </dgm:t>
    </dgm:pt>
    <dgm:pt modelId="{EB38FBFC-0F00-4424-8484-606C42881F06}" type="parTrans" cxnId="{71DDA914-E55D-4976-ACE5-233814E963D5}">
      <dgm:prSet/>
      <dgm:spPr/>
      <dgm:t>
        <a:bodyPr/>
        <a:lstStyle/>
        <a:p>
          <a:endParaRPr lang="zh-CN" altLang="en-US"/>
        </a:p>
      </dgm:t>
    </dgm:pt>
    <dgm:pt modelId="{1871DE4F-358B-4039-8007-7B764BF31ED9}" type="sibTrans" cxnId="{71DDA914-E55D-4976-ACE5-233814E963D5}">
      <dgm:prSet/>
      <dgm:spPr/>
      <dgm:t>
        <a:bodyPr/>
        <a:lstStyle/>
        <a:p>
          <a:endParaRPr lang="zh-CN" altLang="en-US"/>
        </a:p>
      </dgm:t>
    </dgm:pt>
    <dgm:pt modelId="{0C5C9D74-0D7E-4890-AE58-2659068B98AB}" type="pres">
      <dgm:prSet presAssocID="{F4263F1A-4349-428E-90A7-6926B43A192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468517B-0ADB-4D35-BCCE-BF24874C8EEB}" type="pres">
      <dgm:prSet presAssocID="{D0EC11B3-4520-40CB-BE10-50ABF95A3782}" presName="composite" presStyleCnt="0"/>
      <dgm:spPr/>
    </dgm:pt>
    <dgm:pt modelId="{972EFB13-1A40-4406-974F-B142E65EA4A0}" type="pres">
      <dgm:prSet presAssocID="{D0EC11B3-4520-40CB-BE10-50ABF95A3782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05BB3F-91E8-418C-A85C-8CC0B39245F9}" type="pres">
      <dgm:prSet presAssocID="{D0EC11B3-4520-40CB-BE10-50ABF95A3782}" presName="descendantText" presStyleLbl="alignAcc1" presStyleIdx="0" presStyleCnt="4" custLinFactNeighborX="375" custLinFactNeighborY="-148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C8E5CDF-18EA-4808-B735-D0BF1410111B}" type="pres">
      <dgm:prSet presAssocID="{263A1C64-DDA4-4243-9EBB-A3D61C67C7B1}" presName="sp" presStyleCnt="0"/>
      <dgm:spPr/>
    </dgm:pt>
    <dgm:pt modelId="{29A2E0C6-598D-4304-A0F4-F7BE10768E54}" type="pres">
      <dgm:prSet presAssocID="{CDF46C14-66F4-4263-9B69-4D0B1C2470F3}" presName="composite" presStyleCnt="0"/>
      <dgm:spPr/>
    </dgm:pt>
    <dgm:pt modelId="{74F6BB54-8FF0-4399-A83E-B7E0C5ECD9BA}" type="pres">
      <dgm:prSet presAssocID="{CDF46C14-66F4-4263-9B69-4D0B1C2470F3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E67A02C-CF84-46E2-B237-5A948A59A2DF}" type="pres">
      <dgm:prSet presAssocID="{CDF46C14-66F4-4263-9B69-4D0B1C2470F3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67C5F38-0890-4456-9DB4-5310F06D85D4}" type="pres">
      <dgm:prSet presAssocID="{8E2A0C41-2638-4919-9CB7-29103DCF6CA6}" presName="sp" presStyleCnt="0"/>
      <dgm:spPr/>
    </dgm:pt>
    <dgm:pt modelId="{6699F85F-3E5E-4EE9-95B2-DAE45F693B03}" type="pres">
      <dgm:prSet presAssocID="{22C56A98-5F35-4B24-9364-5935710CF20C}" presName="composite" presStyleCnt="0"/>
      <dgm:spPr/>
    </dgm:pt>
    <dgm:pt modelId="{879BF6D9-0326-447F-A317-65CA56FA3158}" type="pres">
      <dgm:prSet presAssocID="{22C56A98-5F35-4B24-9364-5935710CF20C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6460874-471B-49CC-A854-DF15797BAB8B}" type="pres">
      <dgm:prSet presAssocID="{22C56A98-5F35-4B24-9364-5935710CF20C}" presName="descendantText" presStyleLbl="alignAcc1" presStyleIdx="2" presStyleCnt="4" custScaleY="14023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64D00F6-0ED5-4411-BF2F-10409741E3E6}" type="pres">
      <dgm:prSet presAssocID="{B2AB626D-26A1-49E6-8813-8CA4BBD1AD16}" presName="sp" presStyleCnt="0"/>
      <dgm:spPr/>
    </dgm:pt>
    <dgm:pt modelId="{3843E756-063E-4E50-A01B-B354892FE860}" type="pres">
      <dgm:prSet presAssocID="{B41F1DE5-0F18-4847-B86B-6C05E2237BBA}" presName="composite" presStyleCnt="0"/>
      <dgm:spPr/>
    </dgm:pt>
    <dgm:pt modelId="{3154B5A4-BB2E-4D20-BB68-BEF08E261A1E}" type="pres">
      <dgm:prSet presAssocID="{B41F1DE5-0F18-4847-B86B-6C05E2237BBA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A1A5CFF-3053-4EAE-8E18-63FF1007118E}" type="pres">
      <dgm:prSet presAssocID="{B41F1DE5-0F18-4847-B86B-6C05E2237BBA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1C527F3-F590-45E1-ACE4-C279E8353B87}" type="presOf" srcId="{200BBA73-543E-41CF-A0C3-DB303BA1789B}" destId="{7A1A5CFF-3053-4EAE-8E18-63FF1007118E}" srcOrd="0" destOrd="0" presId="urn:microsoft.com/office/officeart/2005/8/layout/chevron2"/>
    <dgm:cxn modelId="{71DDA914-E55D-4976-ACE5-233814E963D5}" srcId="{22C56A98-5F35-4B24-9364-5935710CF20C}" destId="{509620E1-C087-448A-84E0-50E88923EEB0}" srcOrd="2" destOrd="0" parTransId="{EB38FBFC-0F00-4424-8484-606C42881F06}" sibTransId="{1871DE4F-358B-4039-8007-7B764BF31ED9}"/>
    <dgm:cxn modelId="{DB3E9834-4922-44D7-BB25-05A2F25CF78C}" type="presOf" srcId="{2F6B8F49-B03D-44DE-A861-1D2F6047F92B}" destId="{F6460874-471B-49CC-A854-DF15797BAB8B}" srcOrd="0" destOrd="1" presId="urn:microsoft.com/office/officeart/2005/8/layout/chevron2"/>
    <dgm:cxn modelId="{87902546-C724-4C88-93F3-33227501417C}" srcId="{22C56A98-5F35-4B24-9364-5935710CF20C}" destId="{800799A7-D1DA-4513-8383-B627E63FF8D5}" srcOrd="0" destOrd="0" parTransId="{BEAE264D-4109-408A-A2F2-AC87B9D7D865}" sibTransId="{D468C5E6-D8A5-46F8-B95C-5154F049E412}"/>
    <dgm:cxn modelId="{F57F3A1E-DD80-4A7B-91FD-5ED3DDECB5FF}" srcId="{B41F1DE5-0F18-4847-B86B-6C05E2237BBA}" destId="{28673A9F-B724-48A0-90A9-DF44A8FDA45F}" srcOrd="1" destOrd="0" parTransId="{1387194D-16F3-4BB3-852D-0A7F0FF6E920}" sibTransId="{6068AB98-55B0-4C5D-AF7C-61C0304A4E03}"/>
    <dgm:cxn modelId="{CF3D78C9-4D9E-4CC2-B500-E314E2FEBEEF}" srcId="{F4263F1A-4349-428E-90A7-6926B43A1921}" destId="{B41F1DE5-0F18-4847-B86B-6C05E2237BBA}" srcOrd="3" destOrd="0" parTransId="{EB84A0AB-FE52-4F72-8353-D74373A6B607}" sibTransId="{051C8281-DE32-48AE-B99F-68E8B9DAE10C}"/>
    <dgm:cxn modelId="{44F802D6-8360-4B24-B181-ED63F24B40EC}" type="presOf" srcId="{F4263F1A-4349-428E-90A7-6926B43A1921}" destId="{0C5C9D74-0D7E-4890-AE58-2659068B98AB}" srcOrd="0" destOrd="0" presId="urn:microsoft.com/office/officeart/2005/8/layout/chevron2"/>
    <dgm:cxn modelId="{96B8D8DF-B89C-427B-B05D-F2159F6B5DF8}" type="presOf" srcId="{BECC2D10-1661-4648-AC1E-62CF7EDCD27C}" destId="{2E67A02C-CF84-46E2-B237-5A948A59A2DF}" srcOrd="0" destOrd="0" presId="urn:microsoft.com/office/officeart/2005/8/layout/chevron2"/>
    <dgm:cxn modelId="{AFB93EC6-D2C1-4D15-9F8C-CF614C6B9210}" srcId="{B41F1DE5-0F18-4847-B86B-6C05E2237BBA}" destId="{200BBA73-543E-41CF-A0C3-DB303BA1789B}" srcOrd="0" destOrd="0" parTransId="{063237AC-1BE4-473A-9784-6EA133065B64}" sibTransId="{C308C988-4F59-4E2F-AD1F-ADA8660C0BEB}"/>
    <dgm:cxn modelId="{C9B903A1-7E91-4DAD-8E13-B6F845410F0B}" type="presOf" srcId="{D0EC11B3-4520-40CB-BE10-50ABF95A3782}" destId="{972EFB13-1A40-4406-974F-B142E65EA4A0}" srcOrd="0" destOrd="0" presId="urn:microsoft.com/office/officeart/2005/8/layout/chevron2"/>
    <dgm:cxn modelId="{9031D090-B054-42E2-86F6-39D157043E05}" srcId="{F4263F1A-4349-428E-90A7-6926B43A1921}" destId="{22C56A98-5F35-4B24-9364-5935710CF20C}" srcOrd="2" destOrd="0" parTransId="{F24BC28F-D44E-42D6-A021-E7AD8C80B864}" sibTransId="{B2AB626D-26A1-49E6-8813-8CA4BBD1AD16}"/>
    <dgm:cxn modelId="{DA118AA5-1EA3-42D4-86CF-91FCFAE21B82}" type="presOf" srcId="{22C56A98-5F35-4B24-9364-5935710CF20C}" destId="{879BF6D9-0326-447F-A317-65CA56FA3158}" srcOrd="0" destOrd="0" presId="urn:microsoft.com/office/officeart/2005/8/layout/chevron2"/>
    <dgm:cxn modelId="{C921BAEA-8E81-4E04-B25F-8BAC12080F53}" srcId="{22C56A98-5F35-4B24-9364-5935710CF20C}" destId="{2F6B8F49-B03D-44DE-A861-1D2F6047F92B}" srcOrd="1" destOrd="0" parTransId="{6E015563-04AC-41D2-80BF-971EA699EA49}" sibTransId="{94E8AB73-906B-4CBE-AA8E-55A7F033922F}"/>
    <dgm:cxn modelId="{20EEE5FF-6125-4197-83ED-770478D7B9D1}" srcId="{CDF46C14-66F4-4263-9B69-4D0B1C2470F3}" destId="{BECC2D10-1661-4648-AC1E-62CF7EDCD27C}" srcOrd="0" destOrd="0" parTransId="{6B4066DC-3270-4647-9B06-51722F84F72F}" sibTransId="{6D2EEA21-70E1-4C9A-ADA7-343F623753AF}"/>
    <dgm:cxn modelId="{D4B106FB-6FCD-4B8B-9455-7E8C1A8C959C}" srcId="{D0EC11B3-4520-40CB-BE10-50ABF95A3782}" destId="{BF2FF06E-7599-4C11-9F3D-42A58688CC4F}" srcOrd="0" destOrd="0" parTransId="{78823FA7-C641-455F-96A5-F65911CB6E0C}" sibTransId="{F81F95CB-4F36-47B7-B9F8-EE680E249846}"/>
    <dgm:cxn modelId="{7F8A50DE-613D-46FE-8EB6-C58D5A3D9017}" type="presOf" srcId="{B41F1DE5-0F18-4847-B86B-6C05E2237BBA}" destId="{3154B5A4-BB2E-4D20-BB68-BEF08E261A1E}" srcOrd="0" destOrd="0" presId="urn:microsoft.com/office/officeart/2005/8/layout/chevron2"/>
    <dgm:cxn modelId="{76607052-E2F3-4576-9C05-36780F804286}" srcId="{F4263F1A-4349-428E-90A7-6926B43A1921}" destId="{D0EC11B3-4520-40CB-BE10-50ABF95A3782}" srcOrd="0" destOrd="0" parTransId="{7334D9FF-77E8-40D7-BEB9-0A17D927D7AF}" sibTransId="{263A1C64-DDA4-4243-9EBB-A3D61C67C7B1}"/>
    <dgm:cxn modelId="{45BA614C-4DF7-49A4-96C8-EB8EDE8D56B0}" type="presOf" srcId="{800799A7-D1DA-4513-8383-B627E63FF8D5}" destId="{F6460874-471B-49CC-A854-DF15797BAB8B}" srcOrd="0" destOrd="0" presId="urn:microsoft.com/office/officeart/2005/8/layout/chevron2"/>
    <dgm:cxn modelId="{4A81C39A-3B66-4C46-992C-239FCBAC6992}" srcId="{F4263F1A-4349-428E-90A7-6926B43A1921}" destId="{CDF46C14-66F4-4263-9B69-4D0B1C2470F3}" srcOrd="1" destOrd="0" parTransId="{90C8F5E5-9C74-4D01-B735-D6E75011269E}" sibTransId="{8E2A0C41-2638-4919-9CB7-29103DCF6CA6}"/>
    <dgm:cxn modelId="{457AB26D-D2AF-40F6-B20C-193C7CAB1531}" type="presOf" srcId="{BF2FF06E-7599-4C11-9F3D-42A58688CC4F}" destId="{EA05BB3F-91E8-418C-A85C-8CC0B39245F9}" srcOrd="0" destOrd="0" presId="urn:microsoft.com/office/officeart/2005/8/layout/chevron2"/>
    <dgm:cxn modelId="{E5534552-C805-4412-A533-7B94F4BD2E6B}" type="presOf" srcId="{509620E1-C087-448A-84E0-50E88923EEB0}" destId="{F6460874-471B-49CC-A854-DF15797BAB8B}" srcOrd="0" destOrd="2" presId="urn:microsoft.com/office/officeart/2005/8/layout/chevron2"/>
    <dgm:cxn modelId="{D2D8E239-FA06-40DF-A3ED-47079C330286}" srcId="{D0EC11B3-4520-40CB-BE10-50ABF95A3782}" destId="{ECD5747A-C8AC-46A6-AD56-E894EB27DFBC}" srcOrd="1" destOrd="0" parTransId="{6F83D460-C1F8-4C6A-94AA-2887115497B7}" sibTransId="{744DF9AD-E139-4461-A99F-528FF76D126C}"/>
    <dgm:cxn modelId="{CDA50D0B-2565-4623-A2AA-D942F3104C00}" type="presOf" srcId="{CDF46C14-66F4-4263-9B69-4D0B1C2470F3}" destId="{74F6BB54-8FF0-4399-A83E-B7E0C5ECD9BA}" srcOrd="0" destOrd="0" presId="urn:microsoft.com/office/officeart/2005/8/layout/chevron2"/>
    <dgm:cxn modelId="{98B65185-54AD-49D5-A3A3-46A154F4866E}" type="presOf" srcId="{ECD5747A-C8AC-46A6-AD56-E894EB27DFBC}" destId="{EA05BB3F-91E8-418C-A85C-8CC0B39245F9}" srcOrd="0" destOrd="1" presId="urn:microsoft.com/office/officeart/2005/8/layout/chevron2"/>
    <dgm:cxn modelId="{5C8E8CE8-AA49-4B56-AB6C-F2D4B613F8B2}" type="presOf" srcId="{28673A9F-B724-48A0-90A9-DF44A8FDA45F}" destId="{7A1A5CFF-3053-4EAE-8E18-63FF1007118E}" srcOrd="0" destOrd="1" presId="urn:microsoft.com/office/officeart/2005/8/layout/chevron2"/>
    <dgm:cxn modelId="{3C9924B4-9012-4CCF-9A09-0607FA0F2155}" type="presParOf" srcId="{0C5C9D74-0D7E-4890-AE58-2659068B98AB}" destId="{5468517B-0ADB-4D35-BCCE-BF24874C8EEB}" srcOrd="0" destOrd="0" presId="urn:microsoft.com/office/officeart/2005/8/layout/chevron2"/>
    <dgm:cxn modelId="{603E2E92-B65D-4DA0-9CA9-97DD6728AEF7}" type="presParOf" srcId="{5468517B-0ADB-4D35-BCCE-BF24874C8EEB}" destId="{972EFB13-1A40-4406-974F-B142E65EA4A0}" srcOrd="0" destOrd="0" presId="urn:microsoft.com/office/officeart/2005/8/layout/chevron2"/>
    <dgm:cxn modelId="{D2C165BD-C551-48E5-AD71-91699BDE7778}" type="presParOf" srcId="{5468517B-0ADB-4D35-BCCE-BF24874C8EEB}" destId="{EA05BB3F-91E8-418C-A85C-8CC0B39245F9}" srcOrd="1" destOrd="0" presId="urn:microsoft.com/office/officeart/2005/8/layout/chevron2"/>
    <dgm:cxn modelId="{4711BDBB-BA98-45BB-B6EC-29909EEB4DF8}" type="presParOf" srcId="{0C5C9D74-0D7E-4890-AE58-2659068B98AB}" destId="{BC8E5CDF-18EA-4808-B735-D0BF1410111B}" srcOrd="1" destOrd="0" presId="urn:microsoft.com/office/officeart/2005/8/layout/chevron2"/>
    <dgm:cxn modelId="{36702BC3-0233-4B37-929C-EEE44D342007}" type="presParOf" srcId="{0C5C9D74-0D7E-4890-AE58-2659068B98AB}" destId="{29A2E0C6-598D-4304-A0F4-F7BE10768E54}" srcOrd="2" destOrd="0" presId="urn:microsoft.com/office/officeart/2005/8/layout/chevron2"/>
    <dgm:cxn modelId="{74023523-1B29-4C96-B1C5-EB7767546B57}" type="presParOf" srcId="{29A2E0C6-598D-4304-A0F4-F7BE10768E54}" destId="{74F6BB54-8FF0-4399-A83E-B7E0C5ECD9BA}" srcOrd="0" destOrd="0" presId="urn:microsoft.com/office/officeart/2005/8/layout/chevron2"/>
    <dgm:cxn modelId="{E2E0DA74-24F2-40E5-80EB-D0178AC9BDCD}" type="presParOf" srcId="{29A2E0C6-598D-4304-A0F4-F7BE10768E54}" destId="{2E67A02C-CF84-46E2-B237-5A948A59A2DF}" srcOrd="1" destOrd="0" presId="urn:microsoft.com/office/officeart/2005/8/layout/chevron2"/>
    <dgm:cxn modelId="{773258DD-CE86-4CC8-BFFF-E091EF15D7F8}" type="presParOf" srcId="{0C5C9D74-0D7E-4890-AE58-2659068B98AB}" destId="{967C5F38-0890-4456-9DB4-5310F06D85D4}" srcOrd="3" destOrd="0" presId="urn:microsoft.com/office/officeart/2005/8/layout/chevron2"/>
    <dgm:cxn modelId="{E8D6449E-7EC3-492D-87E8-EFF98365163D}" type="presParOf" srcId="{0C5C9D74-0D7E-4890-AE58-2659068B98AB}" destId="{6699F85F-3E5E-4EE9-95B2-DAE45F693B03}" srcOrd="4" destOrd="0" presId="urn:microsoft.com/office/officeart/2005/8/layout/chevron2"/>
    <dgm:cxn modelId="{07A072BE-3984-40C3-A5E5-CB80BCA0D950}" type="presParOf" srcId="{6699F85F-3E5E-4EE9-95B2-DAE45F693B03}" destId="{879BF6D9-0326-447F-A317-65CA56FA3158}" srcOrd="0" destOrd="0" presId="urn:microsoft.com/office/officeart/2005/8/layout/chevron2"/>
    <dgm:cxn modelId="{C6EC9D77-D764-492F-8D64-0939A1486BA8}" type="presParOf" srcId="{6699F85F-3E5E-4EE9-95B2-DAE45F693B03}" destId="{F6460874-471B-49CC-A854-DF15797BAB8B}" srcOrd="1" destOrd="0" presId="urn:microsoft.com/office/officeart/2005/8/layout/chevron2"/>
    <dgm:cxn modelId="{FF1D0735-1758-4DFB-9F80-532B9E65CF23}" type="presParOf" srcId="{0C5C9D74-0D7E-4890-AE58-2659068B98AB}" destId="{F64D00F6-0ED5-4411-BF2F-10409741E3E6}" srcOrd="5" destOrd="0" presId="urn:microsoft.com/office/officeart/2005/8/layout/chevron2"/>
    <dgm:cxn modelId="{B94B4D71-BDC5-412F-9F00-5E2C298B3AE4}" type="presParOf" srcId="{0C5C9D74-0D7E-4890-AE58-2659068B98AB}" destId="{3843E756-063E-4E50-A01B-B354892FE860}" srcOrd="6" destOrd="0" presId="urn:microsoft.com/office/officeart/2005/8/layout/chevron2"/>
    <dgm:cxn modelId="{1CFA192F-27CB-4307-ABF7-8298327FDE31}" type="presParOf" srcId="{3843E756-063E-4E50-A01B-B354892FE860}" destId="{3154B5A4-BB2E-4D20-BB68-BEF08E261A1E}" srcOrd="0" destOrd="0" presId="urn:microsoft.com/office/officeart/2005/8/layout/chevron2"/>
    <dgm:cxn modelId="{8E792CC4-41CF-4DD3-8939-521456E470A2}" type="presParOf" srcId="{3843E756-063E-4E50-A01B-B354892FE860}" destId="{7A1A5CFF-3053-4EAE-8E18-63FF1007118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4A2E56B-F005-44E1-9239-9C01EC48C5FF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99710D3-5D04-4CBE-9055-8DF5F9F36898}">
      <dgm:prSet phldrT="[Text]" custT="1"/>
      <dgm:spPr/>
      <dgm:t>
        <a:bodyPr/>
        <a:lstStyle/>
        <a:p>
          <a:r>
            <a:rPr lang="en-US" altLang="zh-CN" sz="1050" dirty="0" smtClean="0"/>
            <a:t>Build week learner pool</a:t>
          </a:r>
          <a:endParaRPr lang="zh-CN" altLang="en-US" sz="1050" dirty="0"/>
        </a:p>
      </dgm:t>
    </dgm:pt>
    <dgm:pt modelId="{E054A093-B935-4023-8B14-2995C6100FD9}" type="parTrans" cxnId="{E0088A23-6E47-483A-9C0B-2115EC699B39}">
      <dgm:prSet/>
      <dgm:spPr/>
      <dgm:t>
        <a:bodyPr/>
        <a:lstStyle/>
        <a:p>
          <a:endParaRPr lang="zh-CN" altLang="en-US"/>
        </a:p>
      </dgm:t>
    </dgm:pt>
    <dgm:pt modelId="{E7095CE3-8140-43D3-9557-3D7DD5866A92}" type="sibTrans" cxnId="{E0088A23-6E47-483A-9C0B-2115EC699B39}">
      <dgm:prSet/>
      <dgm:spPr/>
      <dgm:t>
        <a:bodyPr/>
        <a:lstStyle/>
        <a:p>
          <a:endParaRPr lang="zh-CN" altLang="en-US"/>
        </a:p>
      </dgm:t>
    </dgm:pt>
    <dgm:pt modelId="{C775803A-C872-4F31-81B6-0C785DC828F1}">
      <dgm:prSet phldrT="[Text]"/>
      <dgm:spPr/>
      <dgm:t>
        <a:bodyPr/>
        <a:lstStyle/>
        <a:p>
          <a:r>
            <a:rPr lang="en-US" altLang="zh-CN" dirty="0" smtClean="0"/>
            <a:t>Candidate models</a:t>
          </a:r>
          <a:endParaRPr lang="zh-CN" altLang="en-US" dirty="0"/>
        </a:p>
      </dgm:t>
    </dgm:pt>
    <dgm:pt modelId="{79DEF6A9-A694-4C1D-9A6D-7924AEFA2336}" type="parTrans" cxnId="{F1BAE88D-997B-4773-9691-AF636C90917A}">
      <dgm:prSet/>
      <dgm:spPr/>
      <dgm:t>
        <a:bodyPr/>
        <a:lstStyle/>
        <a:p>
          <a:endParaRPr lang="zh-CN" altLang="en-US"/>
        </a:p>
      </dgm:t>
    </dgm:pt>
    <dgm:pt modelId="{2785001F-3096-4053-BF70-6E8FE6EBD389}" type="sibTrans" cxnId="{F1BAE88D-997B-4773-9691-AF636C90917A}">
      <dgm:prSet/>
      <dgm:spPr/>
      <dgm:t>
        <a:bodyPr/>
        <a:lstStyle/>
        <a:p>
          <a:endParaRPr lang="zh-CN" altLang="en-US"/>
        </a:p>
      </dgm:t>
    </dgm:pt>
    <dgm:pt modelId="{3FFD0A30-D0A7-4287-8487-1305545E5C84}">
      <dgm:prSet phldrT="[Text]"/>
      <dgm:spPr/>
      <dgm:t>
        <a:bodyPr/>
        <a:lstStyle/>
        <a:p>
          <a:r>
            <a:rPr lang="en-US" altLang="zh-CN" dirty="0" smtClean="0"/>
            <a:t>e.g. logistic regression, lasso, RF, SVM</a:t>
          </a:r>
          <a:endParaRPr lang="zh-CN" altLang="en-US" dirty="0"/>
        </a:p>
      </dgm:t>
    </dgm:pt>
    <dgm:pt modelId="{21D91331-82AD-4FF2-A8E5-372457586880}" type="parTrans" cxnId="{107D567B-C05E-4D8F-99AC-34B157EBE14D}">
      <dgm:prSet/>
      <dgm:spPr/>
      <dgm:t>
        <a:bodyPr/>
        <a:lstStyle/>
        <a:p>
          <a:endParaRPr lang="zh-CN" altLang="en-US"/>
        </a:p>
      </dgm:t>
    </dgm:pt>
    <dgm:pt modelId="{7711F718-D2D9-4D4D-B45D-6691EE9F1407}" type="sibTrans" cxnId="{107D567B-C05E-4D8F-99AC-34B157EBE14D}">
      <dgm:prSet/>
      <dgm:spPr/>
      <dgm:t>
        <a:bodyPr/>
        <a:lstStyle/>
        <a:p>
          <a:endParaRPr lang="zh-CN" altLang="en-US"/>
        </a:p>
      </dgm:t>
    </dgm:pt>
    <dgm:pt modelId="{B5816F9A-9DAD-45D7-9852-BF21569BDE29}">
      <dgm:prSet phldrT="[Text]" custT="1"/>
      <dgm:spPr/>
      <dgm:t>
        <a:bodyPr/>
        <a:lstStyle/>
        <a:p>
          <a:r>
            <a:rPr lang="en-US" altLang="zh-CN" sz="1000" dirty="0" smtClean="0"/>
            <a:t>Get performance on validation for all weak learners</a:t>
          </a:r>
          <a:endParaRPr lang="zh-CN" altLang="en-US" sz="1000" dirty="0"/>
        </a:p>
      </dgm:t>
    </dgm:pt>
    <dgm:pt modelId="{CD562D29-FF36-4E83-A1D8-E06412C71E38}" type="parTrans" cxnId="{C130308F-B831-4099-83EE-6FF67633737B}">
      <dgm:prSet/>
      <dgm:spPr/>
      <dgm:t>
        <a:bodyPr/>
        <a:lstStyle/>
        <a:p>
          <a:endParaRPr lang="zh-CN" altLang="en-US"/>
        </a:p>
      </dgm:t>
    </dgm:pt>
    <dgm:pt modelId="{7452F2AC-1591-434E-BD57-A369C2FA5A91}" type="sibTrans" cxnId="{C130308F-B831-4099-83EE-6FF67633737B}">
      <dgm:prSet/>
      <dgm:spPr/>
      <dgm:t>
        <a:bodyPr/>
        <a:lstStyle/>
        <a:p>
          <a:endParaRPr lang="zh-CN" altLang="en-US"/>
        </a:p>
      </dgm:t>
    </dgm:pt>
    <dgm:pt modelId="{72067297-FDDF-41C8-A273-D728EDD6B4FA}">
      <dgm:prSet phldrT="[Text]"/>
      <dgm:spPr/>
      <dgm:t>
        <a:bodyPr/>
        <a:lstStyle/>
        <a:p>
          <a:r>
            <a:rPr lang="en-US" altLang="zh-CN" dirty="0" smtClean="0"/>
            <a:t>Cross validation for all weak learners</a:t>
          </a:r>
          <a:endParaRPr lang="zh-CN" altLang="en-US" dirty="0"/>
        </a:p>
      </dgm:t>
    </dgm:pt>
    <dgm:pt modelId="{FC61B7DC-6E66-48F5-8541-E2CE069E0A0A}" type="parTrans" cxnId="{3120927E-3C20-4A7C-B9FF-8724DBFC3ED3}">
      <dgm:prSet/>
      <dgm:spPr/>
      <dgm:t>
        <a:bodyPr/>
        <a:lstStyle/>
        <a:p>
          <a:endParaRPr lang="zh-CN" altLang="en-US"/>
        </a:p>
      </dgm:t>
    </dgm:pt>
    <dgm:pt modelId="{327D276B-4F6D-493F-8CC2-B3ED796B1E12}" type="sibTrans" cxnId="{3120927E-3C20-4A7C-B9FF-8724DBFC3ED3}">
      <dgm:prSet/>
      <dgm:spPr/>
      <dgm:t>
        <a:bodyPr/>
        <a:lstStyle/>
        <a:p>
          <a:endParaRPr lang="zh-CN" altLang="en-US"/>
        </a:p>
      </dgm:t>
    </dgm:pt>
    <dgm:pt modelId="{1E609055-F165-4954-8D28-591E00EDB587}">
      <dgm:prSet phldrT="[Text]"/>
      <dgm:spPr/>
      <dgm:t>
        <a:bodyPr/>
        <a:lstStyle/>
        <a:p>
          <a:r>
            <a:rPr lang="en-US" altLang="zh-CN" dirty="0" smtClean="0"/>
            <a:t>Get top winners</a:t>
          </a:r>
          <a:endParaRPr lang="zh-CN" altLang="en-US" dirty="0"/>
        </a:p>
      </dgm:t>
    </dgm:pt>
    <dgm:pt modelId="{96772CEA-15A8-450C-86E5-8E6BF64A082F}" type="parTrans" cxnId="{6B93252E-843C-412B-B843-DDA5616E972C}">
      <dgm:prSet/>
      <dgm:spPr/>
      <dgm:t>
        <a:bodyPr/>
        <a:lstStyle/>
        <a:p>
          <a:endParaRPr lang="zh-CN" altLang="en-US"/>
        </a:p>
      </dgm:t>
    </dgm:pt>
    <dgm:pt modelId="{05251138-96A4-4711-9F71-5C7BF936324A}" type="sibTrans" cxnId="{6B93252E-843C-412B-B843-DDA5616E972C}">
      <dgm:prSet/>
      <dgm:spPr/>
      <dgm:t>
        <a:bodyPr/>
        <a:lstStyle/>
        <a:p>
          <a:endParaRPr lang="zh-CN" altLang="en-US"/>
        </a:p>
      </dgm:t>
    </dgm:pt>
    <dgm:pt modelId="{D5FB6D0C-149B-4022-8F04-8DB223BDE752}">
      <dgm:prSet phldrT="[Text]"/>
      <dgm:spPr/>
      <dgm:t>
        <a:bodyPr/>
        <a:lstStyle/>
        <a:p>
          <a:r>
            <a:rPr lang="en-US" altLang="zh-CN" dirty="0" smtClean="0"/>
            <a:t>Several top winners</a:t>
          </a:r>
          <a:endParaRPr lang="zh-CN" altLang="en-US" dirty="0"/>
        </a:p>
      </dgm:t>
    </dgm:pt>
    <dgm:pt modelId="{DB5BA340-EF04-4DD0-8EE8-92405BBB60E3}" type="parTrans" cxnId="{1A5933E8-5CAA-482E-B660-E4636F3E3B5A}">
      <dgm:prSet/>
      <dgm:spPr/>
      <dgm:t>
        <a:bodyPr/>
        <a:lstStyle/>
        <a:p>
          <a:endParaRPr lang="zh-CN" altLang="en-US"/>
        </a:p>
      </dgm:t>
    </dgm:pt>
    <dgm:pt modelId="{48D4E9E6-27CB-42BA-8ED6-503B6C77ED6E}" type="sibTrans" cxnId="{1A5933E8-5CAA-482E-B660-E4636F3E3B5A}">
      <dgm:prSet/>
      <dgm:spPr/>
      <dgm:t>
        <a:bodyPr/>
        <a:lstStyle/>
        <a:p>
          <a:endParaRPr lang="zh-CN" altLang="en-US"/>
        </a:p>
      </dgm:t>
    </dgm:pt>
    <dgm:pt modelId="{94ECFDE5-7938-4370-ACC1-919E4EA327FF}">
      <dgm:prSet/>
      <dgm:spPr/>
      <dgm:t>
        <a:bodyPr/>
        <a:lstStyle/>
        <a:p>
          <a:r>
            <a:rPr lang="en-US" altLang="zh-CN" dirty="0" smtClean="0"/>
            <a:t>Get aggregate prediction on test data</a:t>
          </a:r>
          <a:endParaRPr lang="zh-CN" altLang="en-US" dirty="0"/>
        </a:p>
      </dgm:t>
    </dgm:pt>
    <dgm:pt modelId="{DEE8F36D-1652-4F21-BBAE-CF81931EC52E}" type="parTrans" cxnId="{C1BB2265-F67B-4868-8EFA-E6ED1DAA1E52}">
      <dgm:prSet/>
      <dgm:spPr/>
      <dgm:t>
        <a:bodyPr/>
        <a:lstStyle/>
        <a:p>
          <a:endParaRPr lang="zh-CN" altLang="en-US"/>
        </a:p>
      </dgm:t>
    </dgm:pt>
    <dgm:pt modelId="{5CFBD2F5-7828-46D3-9DEF-0290F271DDD7}" type="sibTrans" cxnId="{C1BB2265-F67B-4868-8EFA-E6ED1DAA1E52}">
      <dgm:prSet/>
      <dgm:spPr/>
      <dgm:t>
        <a:bodyPr/>
        <a:lstStyle/>
        <a:p>
          <a:endParaRPr lang="zh-CN" altLang="en-US"/>
        </a:p>
      </dgm:t>
    </dgm:pt>
    <dgm:pt modelId="{89421B05-2ED3-4062-B938-B1F979238A60}">
      <dgm:prSet phldrT="[Text]"/>
      <dgm:spPr/>
      <dgm:t>
        <a:bodyPr/>
        <a:lstStyle/>
        <a:p>
          <a:r>
            <a:rPr lang="en-US" altLang="zh-CN" dirty="0" smtClean="0"/>
            <a:t>Parameter combination for grid search</a:t>
          </a:r>
          <a:endParaRPr lang="zh-CN" altLang="en-US" dirty="0"/>
        </a:p>
      </dgm:t>
    </dgm:pt>
    <dgm:pt modelId="{06FB0E6E-8099-40CD-B15E-1BFDC7F6B622}" type="parTrans" cxnId="{0E5A1EB5-01C1-4F92-869B-1912ACE4D4BB}">
      <dgm:prSet/>
      <dgm:spPr/>
      <dgm:t>
        <a:bodyPr/>
        <a:lstStyle/>
        <a:p>
          <a:endParaRPr lang="zh-CN" altLang="en-US"/>
        </a:p>
      </dgm:t>
    </dgm:pt>
    <dgm:pt modelId="{19004057-7DF8-4784-84BF-084D100EC598}" type="sibTrans" cxnId="{0E5A1EB5-01C1-4F92-869B-1912ACE4D4BB}">
      <dgm:prSet/>
      <dgm:spPr/>
      <dgm:t>
        <a:bodyPr/>
        <a:lstStyle/>
        <a:p>
          <a:endParaRPr lang="zh-CN" altLang="en-US"/>
        </a:p>
      </dgm:t>
    </dgm:pt>
    <dgm:pt modelId="{1743AA1A-7422-4EE2-996C-AF80A39BE445}">
      <dgm:prSet phldrT="[Text]"/>
      <dgm:spPr/>
      <dgm:t>
        <a:bodyPr/>
        <a:lstStyle/>
        <a:p>
          <a:r>
            <a:rPr lang="en-US" altLang="zh-CN" dirty="0" smtClean="0"/>
            <a:t>Apply the best parameters on validation data for all weak learners</a:t>
          </a:r>
          <a:endParaRPr lang="zh-CN" altLang="en-US" dirty="0"/>
        </a:p>
      </dgm:t>
    </dgm:pt>
    <dgm:pt modelId="{8BF285E0-A405-40C5-AAAB-77DDBFEECC3C}" type="parTrans" cxnId="{E3EF4B2A-2CD9-474C-A80B-2C1EC936B8E6}">
      <dgm:prSet/>
      <dgm:spPr/>
      <dgm:t>
        <a:bodyPr/>
        <a:lstStyle/>
        <a:p>
          <a:endParaRPr lang="zh-CN" altLang="en-US"/>
        </a:p>
      </dgm:t>
    </dgm:pt>
    <dgm:pt modelId="{A033C56F-DFDB-4095-ACFC-E429EE9A320D}" type="sibTrans" cxnId="{E3EF4B2A-2CD9-474C-A80B-2C1EC936B8E6}">
      <dgm:prSet/>
      <dgm:spPr/>
      <dgm:t>
        <a:bodyPr/>
        <a:lstStyle/>
        <a:p>
          <a:endParaRPr lang="zh-CN" altLang="en-US"/>
        </a:p>
      </dgm:t>
    </dgm:pt>
    <dgm:pt modelId="{B9894975-1C1C-4B4B-BCD1-664C56A10F7D}">
      <dgm:prSet phldrT="[Text]"/>
      <dgm:spPr/>
      <dgm:t>
        <a:bodyPr/>
        <a:lstStyle/>
        <a:p>
          <a:r>
            <a:rPr lang="en-US" altLang="zh-CN" dirty="0" smtClean="0"/>
            <a:t>e.g. weak leaners with top 5 precision values on targeting recall</a:t>
          </a:r>
          <a:endParaRPr lang="zh-CN" altLang="en-US" dirty="0"/>
        </a:p>
      </dgm:t>
    </dgm:pt>
    <dgm:pt modelId="{7CE00390-7403-451A-A64A-792C2AFEE50B}" type="parTrans" cxnId="{515C0994-8F4A-4786-AE88-100D2CDB2A80}">
      <dgm:prSet/>
      <dgm:spPr/>
      <dgm:t>
        <a:bodyPr/>
        <a:lstStyle/>
        <a:p>
          <a:endParaRPr lang="zh-CN" altLang="en-US"/>
        </a:p>
      </dgm:t>
    </dgm:pt>
    <dgm:pt modelId="{6444C273-9AFE-46B0-AC66-4ECC25F3E680}" type="sibTrans" cxnId="{515C0994-8F4A-4786-AE88-100D2CDB2A80}">
      <dgm:prSet/>
      <dgm:spPr/>
      <dgm:t>
        <a:bodyPr/>
        <a:lstStyle/>
        <a:p>
          <a:endParaRPr lang="zh-CN" altLang="en-US"/>
        </a:p>
      </dgm:t>
    </dgm:pt>
    <dgm:pt modelId="{210D435B-408B-492C-A656-6802D548BCF9}">
      <dgm:prSet/>
      <dgm:spPr/>
      <dgm:t>
        <a:bodyPr/>
        <a:lstStyle/>
        <a:p>
          <a:r>
            <a:rPr lang="en-US" altLang="zh-CN" dirty="0" smtClean="0"/>
            <a:t>Only use the top winners</a:t>
          </a:r>
          <a:endParaRPr lang="zh-CN" altLang="en-US" dirty="0"/>
        </a:p>
      </dgm:t>
    </dgm:pt>
    <dgm:pt modelId="{A84FC815-AA03-4A04-A573-23746CA7AEAF}" type="parTrans" cxnId="{D5151B1D-4A88-4BAC-B6A7-1AE42311BF3A}">
      <dgm:prSet/>
      <dgm:spPr/>
      <dgm:t>
        <a:bodyPr/>
        <a:lstStyle/>
        <a:p>
          <a:endParaRPr lang="zh-CN" altLang="en-US"/>
        </a:p>
      </dgm:t>
    </dgm:pt>
    <dgm:pt modelId="{B537F25C-AFC1-4612-8A32-693F630CC260}" type="sibTrans" cxnId="{D5151B1D-4A88-4BAC-B6A7-1AE42311BF3A}">
      <dgm:prSet/>
      <dgm:spPr/>
      <dgm:t>
        <a:bodyPr/>
        <a:lstStyle/>
        <a:p>
          <a:endParaRPr lang="zh-CN" altLang="en-US"/>
        </a:p>
      </dgm:t>
    </dgm:pt>
    <dgm:pt modelId="{B3BDBF42-B46C-4538-BF34-A81E7E37CD9A}">
      <dgm:prSet/>
      <dgm:spPr/>
      <dgm:t>
        <a:bodyPr/>
        <a:lstStyle/>
        <a:p>
          <a:r>
            <a:rPr lang="en-US" altLang="zh-CN" dirty="0" smtClean="0"/>
            <a:t>Train models on train + validation</a:t>
          </a:r>
          <a:endParaRPr lang="zh-CN" altLang="en-US" dirty="0"/>
        </a:p>
      </dgm:t>
    </dgm:pt>
    <dgm:pt modelId="{167CA2B9-02AC-463F-89A7-34BBA4963CBE}" type="parTrans" cxnId="{3D4A321D-4E5A-4DD7-BEBE-F0BAD060B66B}">
      <dgm:prSet/>
      <dgm:spPr/>
      <dgm:t>
        <a:bodyPr/>
        <a:lstStyle/>
        <a:p>
          <a:endParaRPr lang="zh-CN" altLang="en-US"/>
        </a:p>
      </dgm:t>
    </dgm:pt>
    <dgm:pt modelId="{7C66D575-635F-477C-B319-A5147DD921E2}" type="sibTrans" cxnId="{3D4A321D-4E5A-4DD7-BEBE-F0BAD060B66B}">
      <dgm:prSet/>
      <dgm:spPr/>
      <dgm:t>
        <a:bodyPr/>
        <a:lstStyle/>
        <a:p>
          <a:endParaRPr lang="zh-CN" altLang="en-US"/>
        </a:p>
      </dgm:t>
    </dgm:pt>
    <dgm:pt modelId="{0344F422-9B58-4730-9948-B347CC8BA471}">
      <dgm:prSet/>
      <dgm:spPr/>
      <dgm:t>
        <a:bodyPr/>
        <a:lstStyle/>
        <a:p>
          <a:r>
            <a:rPr lang="en-US" altLang="zh-CN" dirty="0" smtClean="0"/>
            <a:t>Apply the models on the test data</a:t>
          </a:r>
          <a:endParaRPr lang="zh-CN" altLang="en-US" dirty="0"/>
        </a:p>
      </dgm:t>
    </dgm:pt>
    <dgm:pt modelId="{028F54AD-9D83-42C8-B4C8-BA4D0D9DF818}" type="parTrans" cxnId="{7A26C4E1-799A-43D5-A9FE-EBC8B61CF9C1}">
      <dgm:prSet/>
      <dgm:spPr/>
      <dgm:t>
        <a:bodyPr/>
        <a:lstStyle/>
        <a:p>
          <a:endParaRPr lang="zh-CN" altLang="en-US"/>
        </a:p>
      </dgm:t>
    </dgm:pt>
    <dgm:pt modelId="{5C3E68A3-021E-40D1-8083-9B1DC23834BC}" type="sibTrans" cxnId="{7A26C4E1-799A-43D5-A9FE-EBC8B61CF9C1}">
      <dgm:prSet/>
      <dgm:spPr/>
      <dgm:t>
        <a:bodyPr/>
        <a:lstStyle/>
        <a:p>
          <a:endParaRPr lang="zh-CN" altLang="en-US"/>
        </a:p>
      </dgm:t>
    </dgm:pt>
    <dgm:pt modelId="{EFA99BB8-1A05-4155-90FD-1A51B17BDD49}">
      <dgm:prSet/>
      <dgm:spPr/>
      <dgm:t>
        <a:bodyPr/>
        <a:lstStyle/>
        <a:p>
          <a:r>
            <a:rPr lang="en-US" altLang="zh-CN" dirty="0" smtClean="0"/>
            <a:t>Get aggregated prediction values across all winners</a:t>
          </a:r>
          <a:endParaRPr lang="zh-CN" altLang="en-US" dirty="0"/>
        </a:p>
      </dgm:t>
    </dgm:pt>
    <dgm:pt modelId="{FE8FBAE2-DA02-482A-9467-7353DC52F550}" type="parTrans" cxnId="{FB43640F-08D5-47D5-9B32-A77A4D31537C}">
      <dgm:prSet/>
      <dgm:spPr/>
      <dgm:t>
        <a:bodyPr/>
        <a:lstStyle/>
        <a:p>
          <a:endParaRPr lang="zh-CN" altLang="en-US"/>
        </a:p>
      </dgm:t>
    </dgm:pt>
    <dgm:pt modelId="{CA6B6DDA-8C7F-4CC6-9C7A-A2511A1BAD47}" type="sibTrans" cxnId="{FB43640F-08D5-47D5-9B32-A77A4D31537C}">
      <dgm:prSet/>
      <dgm:spPr/>
      <dgm:t>
        <a:bodyPr/>
        <a:lstStyle/>
        <a:p>
          <a:endParaRPr lang="zh-CN" altLang="en-US"/>
        </a:p>
      </dgm:t>
    </dgm:pt>
    <dgm:pt modelId="{19C6C3B3-E261-421A-837A-9C3FEC97D2F9}" type="pres">
      <dgm:prSet presAssocID="{D4A2E56B-F005-44E1-9239-9C01EC48C5F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AAF520D-1D81-4625-9D65-C7930E9F04D3}" type="pres">
      <dgm:prSet presAssocID="{599710D3-5D04-4CBE-9055-8DF5F9F36898}" presName="composite" presStyleCnt="0"/>
      <dgm:spPr/>
    </dgm:pt>
    <dgm:pt modelId="{BFAEC7E5-F400-4BC8-BC9B-EE28CB83BBD2}" type="pres">
      <dgm:prSet presAssocID="{599710D3-5D04-4CBE-9055-8DF5F9F36898}" presName="parentText" presStyleLbl="alignNode1" presStyleIdx="0" presStyleCnt="4" custScaleY="110219" custLinFactNeighborY="-2952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70DBD3FE-1890-4C40-8EA8-D06FB16D5F7D}" type="pres">
      <dgm:prSet presAssocID="{599710D3-5D04-4CBE-9055-8DF5F9F36898}" presName="descendantText" presStyleLbl="alignAcc1" presStyleIdx="0" presStyleCnt="4" custScaleY="129587" custLinFactNeighborX="0" custLinFactNeighborY="317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603E7B-A590-4313-A069-0EE213F78508}" type="pres">
      <dgm:prSet presAssocID="{E7095CE3-8140-43D3-9557-3D7DD5866A92}" presName="sp" presStyleCnt="0"/>
      <dgm:spPr/>
    </dgm:pt>
    <dgm:pt modelId="{8026C5AB-9CC4-4F7D-BCB9-6D08840B03C0}" type="pres">
      <dgm:prSet presAssocID="{B5816F9A-9DAD-45D7-9852-BF21569BDE29}" presName="composite" presStyleCnt="0"/>
      <dgm:spPr/>
    </dgm:pt>
    <dgm:pt modelId="{35A26F73-A859-411E-9C50-A011DC872A68}" type="pres">
      <dgm:prSet presAssocID="{B5816F9A-9DAD-45D7-9852-BF21569BDE29}" presName="parentText" presStyleLbl="alignNode1" presStyleIdx="1" presStyleCnt="4" custLinFactNeighborY="779">
        <dgm:presLayoutVars>
          <dgm:chMax val="1"/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zh-CN" altLang="en-US"/>
        </a:p>
      </dgm:t>
    </dgm:pt>
    <dgm:pt modelId="{91D08A21-0E4F-40A0-AA9F-F06585570E74}" type="pres">
      <dgm:prSet presAssocID="{B5816F9A-9DAD-45D7-9852-BF21569BDE29}" presName="descendantText" presStyleLbl="alignAcc1" presStyleIdx="1" presStyleCnt="4" custScaleY="134056" custLinFactNeighborX="172" custLinFactNeighborY="2496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925EC02-1024-4B1D-A844-D27542774DC0}" type="pres">
      <dgm:prSet presAssocID="{7452F2AC-1591-434E-BD57-A369C2FA5A91}" presName="sp" presStyleCnt="0"/>
      <dgm:spPr/>
    </dgm:pt>
    <dgm:pt modelId="{3BD2C120-0E03-4E8E-A9DC-26B46DCEDC6A}" type="pres">
      <dgm:prSet presAssocID="{1E609055-F165-4954-8D28-591E00EDB587}" presName="composite" presStyleCnt="0"/>
      <dgm:spPr/>
    </dgm:pt>
    <dgm:pt modelId="{926FF2D3-1F2A-411B-BB8F-F481FFAE9C44}" type="pres">
      <dgm:prSet presAssocID="{1E609055-F165-4954-8D28-591E00EDB587}" presName="parentText" presStyleLbl="alignNode1" presStyleIdx="2" presStyleCnt="4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0D7677F1-A9CE-4FCE-A234-A65A7F479370}" type="pres">
      <dgm:prSet presAssocID="{1E609055-F165-4954-8D28-591E00EDB587}" presName="descendantText" presStyleLbl="alignAcc1" presStyleIdx="2" presStyleCnt="4" custScaleY="152381" custLinFactNeighborY="2496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D81DB0-9BCC-49C3-8BB1-970FF1656F46}" type="pres">
      <dgm:prSet presAssocID="{05251138-96A4-4711-9F71-5C7BF936324A}" presName="sp" presStyleCnt="0"/>
      <dgm:spPr/>
    </dgm:pt>
    <dgm:pt modelId="{74FF25B3-C264-4577-B8D8-B98A2775DED2}" type="pres">
      <dgm:prSet presAssocID="{94ECFDE5-7938-4370-ACC1-919E4EA327FF}" presName="composite" presStyleCnt="0"/>
      <dgm:spPr/>
    </dgm:pt>
    <dgm:pt modelId="{87AC5A26-1852-4169-A333-D548B5F9FAB6}" type="pres">
      <dgm:prSet presAssocID="{94ECFDE5-7938-4370-ACC1-919E4EA327FF}" presName="parentText" presStyleLbl="alignNode1" presStyleIdx="3" presStyleCnt="4" custLinFactNeighborX="-1302" custLinFactNeighborY="3127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F7ACA76D-9182-425E-AED7-D2EEE790D391}" type="pres">
      <dgm:prSet presAssocID="{94ECFDE5-7938-4370-ACC1-919E4EA327FF}" presName="descendantText" presStyleLbl="alignAcc1" presStyleIdx="3" presStyleCnt="4" custScaleY="139778" custLinFactNeighborX="173" custLinFactNeighborY="3236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A26C4E1-799A-43D5-A9FE-EBC8B61CF9C1}" srcId="{94ECFDE5-7938-4370-ACC1-919E4EA327FF}" destId="{0344F422-9B58-4730-9948-B347CC8BA471}" srcOrd="2" destOrd="0" parTransId="{028F54AD-9D83-42C8-B4C8-BA4D0D9DF818}" sibTransId="{5C3E68A3-021E-40D1-8083-9B1DC23834BC}"/>
    <dgm:cxn modelId="{D5151B1D-4A88-4BAC-B6A7-1AE42311BF3A}" srcId="{94ECFDE5-7938-4370-ACC1-919E4EA327FF}" destId="{210D435B-408B-492C-A656-6802D548BCF9}" srcOrd="0" destOrd="0" parTransId="{A84FC815-AA03-4A04-A573-23746CA7AEAF}" sibTransId="{B537F25C-AFC1-4612-8A32-693F630CC260}"/>
    <dgm:cxn modelId="{515C0994-8F4A-4786-AE88-100D2CDB2A80}" srcId="{1E609055-F165-4954-8D28-591E00EDB587}" destId="{B9894975-1C1C-4B4B-BCD1-664C56A10F7D}" srcOrd="1" destOrd="0" parTransId="{7CE00390-7403-451A-A64A-792C2AFEE50B}" sibTransId="{6444C273-9AFE-46B0-AC66-4ECC25F3E680}"/>
    <dgm:cxn modelId="{DDFC7BFA-BB7B-4866-84DD-96B95D805885}" type="presOf" srcId="{72067297-FDDF-41C8-A273-D728EDD6B4FA}" destId="{91D08A21-0E4F-40A0-AA9F-F06585570E74}" srcOrd="0" destOrd="0" presId="urn:microsoft.com/office/officeart/2005/8/layout/chevron2"/>
    <dgm:cxn modelId="{8F2C7567-4FE7-486B-8788-6835E9CC07F7}" type="presOf" srcId="{0344F422-9B58-4730-9948-B347CC8BA471}" destId="{F7ACA76D-9182-425E-AED7-D2EEE790D391}" srcOrd="0" destOrd="2" presId="urn:microsoft.com/office/officeart/2005/8/layout/chevron2"/>
    <dgm:cxn modelId="{6B93252E-843C-412B-B843-DDA5616E972C}" srcId="{D4A2E56B-F005-44E1-9239-9C01EC48C5FF}" destId="{1E609055-F165-4954-8D28-591E00EDB587}" srcOrd="2" destOrd="0" parTransId="{96772CEA-15A8-450C-86E5-8E6BF64A082F}" sibTransId="{05251138-96A4-4711-9F71-5C7BF936324A}"/>
    <dgm:cxn modelId="{3120927E-3C20-4A7C-B9FF-8724DBFC3ED3}" srcId="{B5816F9A-9DAD-45D7-9852-BF21569BDE29}" destId="{72067297-FDDF-41C8-A273-D728EDD6B4FA}" srcOrd="0" destOrd="0" parTransId="{FC61B7DC-6E66-48F5-8541-E2CE069E0A0A}" sibTransId="{327D276B-4F6D-493F-8CC2-B3ED796B1E12}"/>
    <dgm:cxn modelId="{1D4699D8-745F-40AD-BEEA-D571A66A9E7A}" type="presOf" srcId="{599710D3-5D04-4CBE-9055-8DF5F9F36898}" destId="{BFAEC7E5-F400-4BC8-BC9B-EE28CB83BBD2}" srcOrd="0" destOrd="0" presId="urn:microsoft.com/office/officeart/2005/8/layout/chevron2"/>
    <dgm:cxn modelId="{1A5933E8-5CAA-482E-B660-E4636F3E3B5A}" srcId="{1E609055-F165-4954-8D28-591E00EDB587}" destId="{D5FB6D0C-149B-4022-8F04-8DB223BDE752}" srcOrd="0" destOrd="0" parTransId="{DB5BA340-EF04-4DD0-8EE8-92405BBB60E3}" sibTransId="{48D4E9E6-27CB-42BA-8ED6-503B6C77ED6E}"/>
    <dgm:cxn modelId="{0E5A1EB5-01C1-4F92-869B-1912ACE4D4BB}" srcId="{599710D3-5D04-4CBE-9055-8DF5F9F36898}" destId="{89421B05-2ED3-4062-B938-B1F979238A60}" srcOrd="1" destOrd="0" parTransId="{06FB0E6E-8099-40CD-B15E-1BFDC7F6B622}" sibTransId="{19004057-7DF8-4784-84BF-084D100EC598}"/>
    <dgm:cxn modelId="{51ADED11-ECAC-4997-A56D-AA828C9A3832}" type="presOf" srcId="{D4A2E56B-F005-44E1-9239-9C01EC48C5FF}" destId="{19C6C3B3-E261-421A-837A-9C3FEC97D2F9}" srcOrd="0" destOrd="0" presId="urn:microsoft.com/office/officeart/2005/8/layout/chevron2"/>
    <dgm:cxn modelId="{C86701EB-5EAD-462F-82E9-E0076AEEECD1}" type="presOf" srcId="{B9894975-1C1C-4B4B-BCD1-664C56A10F7D}" destId="{0D7677F1-A9CE-4FCE-A234-A65A7F479370}" srcOrd="0" destOrd="1" presId="urn:microsoft.com/office/officeart/2005/8/layout/chevron2"/>
    <dgm:cxn modelId="{E3EF4B2A-2CD9-474C-A80B-2C1EC936B8E6}" srcId="{B5816F9A-9DAD-45D7-9852-BF21569BDE29}" destId="{1743AA1A-7422-4EE2-996C-AF80A39BE445}" srcOrd="1" destOrd="0" parTransId="{8BF285E0-A405-40C5-AAAB-77DDBFEECC3C}" sibTransId="{A033C56F-DFDB-4095-ACFC-E429EE9A320D}"/>
    <dgm:cxn modelId="{6CBA5D67-C05B-4729-98A1-1400887DAF92}" type="presOf" srcId="{1E609055-F165-4954-8D28-591E00EDB587}" destId="{926FF2D3-1F2A-411B-BB8F-F481FFAE9C44}" srcOrd="0" destOrd="0" presId="urn:microsoft.com/office/officeart/2005/8/layout/chevron2"/>
    <dgm:cxn modelId="{56FAF8D4-D9E3-4D32-A782-D8BA45D6C5A1}" type="presOf" srcId="{C775803A-C872-4F31-81B6-0C785DC828F1}" destId="{70DBD3FE-1890-4C40-8EA8-D06FB16D5F7D}" srcOrd="0" destOrd="0" presId="urn:microsoft.com/office/officeart/2005/8/layout/chevron2"/>
    <dgm:cxn modelId="{E0088A23-6E47-483A-9C0B-2115EC699B39}" srcId="{D4A2E56B-F005-44E1-9239-9C01EC48C5FF}" destId="{599710D3-5D04-4CBE-9055-8DF5F9F36898}" srcOrd="0" destOrd="0" parTransId="{E054A093-B935-4023-8B14-2995C6100FD9}" sibTransId="{E7095CE3-8140-43D3-9557-3D7DD5866A92}"/>
    <dgm:cxn modelId="{C130308F-B831-4099-83EE-6FF67633737B}" srcId="{D4A2E56B-F005-44E1-9239-9C01EC48C5FF}" destId="{B5816F9A-9DAD-45D7-9852-BF21569BDE29}" srcOrd="1" destOrd="0" parTransId="{CD562D29-FF36-4E83-A1D8-E06412C71E38}" sibTransId="{7452F2AC-1591-434E-BD57-A369C2FA5A91}"/>
    <dgm:cxn modelId="{C2ACA6F1-B48C-4E10-BABC-420487BB4E93}" type="presOf" srcId="{94ECFDE5-7938-4370-ACC1-919E4EA327FF}" destId="{87AC5A26-1852-4169-A333-D548B5F9FAB6}" srcOrd="0" destOrd="0" presId="urn:microsoft.com/office/officeart/2005/8/layout/chevron2"/>
    <dgm:cxn modelId="{8B8BAEFC-48C8-4D03-A842-A46CA9F86FA9}" type="presOf" srcId="{1743AA1A-7422-4EE2-996C-AF80A39BE445}" destId="{91D08A21-0E4F-40A0-AA9F-F06585570E74}" srcOrd="0" destOrd="1" presId="urn:microsoft.com/office/officeart/2005/8/layout/chevron2"/>
    <dgm:cxn modelId="{1353AD55-097D-4F27-AAA7-C0EFEEF22205}" type="presOf" srcId="{EFA99BB8-1A05-4155-90FD-1A51B17BDD49}" destId="{F7ACA76D-9182-425E-AED7-D2EEE790D391}" srcOrd="0" destOrd="3" presId="urn:microsoft.com/office/officeart/2005/8/layout/chevron2"/>
    <dgm:cxn modelId="{0D91AAC0-38CE-42F4-8B71-FA886DA440FF}" type="presOf" srcId="{B3BDBF42-B46C-4538-BF34-A81E7E37CD9A}" destId="{F7ACA76D-9182-425E-AED7-D2EEE790D391}" srcOrd="0" destOrd="1" presId="urn:microsoft.com/office/officeart/2005/8/layout/chevron2"/>
    <dgm:cxn modelId="{107D567B-C05E-4D8F-99AC-34B157EBE14D}" srcId="{599710D3-5D04-4CBE-9055-8DF5F9F36898}" destId="{3FFD0A30-D0A7-4287-8487-1305545E5C84}" srcOrd="2" destOrd="0" parTransId="{21D91331-82AD-4FF2-A8E5-372457586880}" sibTransId="{7711F718-D2D9-4D4D-B45D-6691EE9F1407}"/>
    <dgm:cxn modelId="{F6CAA0D5-EEB8-457A-BD5E-01F58F52311A}" type="presOf" srcId="{89421B05-2ED3-4062-B938-B1F979238A60}" destId="{70DBD3FE-1890-4C40-8EA8-D06FB16D5F7D}" srcOrd="0" destOrd="1" presId="urn:microsoft.com/office/officeart/2005/8/layout/chevron2"/>
    <dgm:cxn modelId="{7558C4A8-F8EC-4757-9FF4-9648947FF956}" type="presOf" srcId="{D5FB6D0C-149B-4022-8F04-8DB223BDE752}" destId="{0D7677F1-A9CE-4FCE-A234-A65A7F479370}" srcOrd="0" destOrd="0" presId="urn:microsoft.com/office/officeart/2005/8/layout/chevron2"/>
    <dgm:cxn modelId="{C12C0B5D-015A-4BFF-A195-3CAA97A1AE6D}" type="presOf" srcId="{B5816F9A-9DAD-45D7-9852-BF21569BDE29}" destId="{35A26F73-A859-411E-9C50-A011DC872A68}" srcOrd="0" destOrd="0" presId="urn:microsoft.com/office/officeart/2005/8/layout/chevron2"/>
    <dgm:cxn modelId="{3D4A321D-4E5A-4DD7-BEBE-F0BAD060B66B}" srcId="{94ECFDE5-7938-4370-ACC1-919E4EA327FF}" destId="{B3BDBF42-B46C-4538-BF34-A81E7E37CD9A}" srcOrd="1" destOrd="0" parTransId="{167CA2B9-02AC-463F-89A7-34BBA4963CBE}" sibTransId="{7C66D575-635F-477C-B319-A5147DD921E2}"/>
    <dgm:cxn modelId="{C1BB2265-F67B-4868-8EFA-E6ED1DAA1E52}" srcId="{D4A2E56B-F005-44E1-9239-9C01EC48C5FF}" destId="{94ECFDE5-7938-4370-ACC1-919E4EA327FF}" srcOrd="3" destOrd="0" parTransId="{DEE8F36D-1652-4F21-BBAE-CF81931EC52E}" sibTransId="{5CFBD2F5-7828-46D3-9DEF-0290F271DDD7}"/>
    <dgm:cxn modelId="{7BD973B9-AD2A-417D-86BE-B27A6A8F0F21}" type="presOf" srcId="{3FFD0A30-D0A7-4287-8487-1305545E5C84}" destId="{70DBD3FE-1890-4C40-8EA8-D06FB16D5F7D}" srcOrd="0" destOrd="2" presId="urn:microsoft.com/office/officeart/2005/8/layout/chevron2"/>
    <dgm:cxn modelId="{F1BAE88D-997B-4773-9691-AF636C90917A}" srcId="{599710D3-5D04-4CBE-9055-8DF5F9F36898}" destId="{C775803A-C872-4F31-81B6-0C785DC828F1}" srcOrd="0" destOrd="0" parTransId="{79DEF6A9-A694-4C1D-9A6D-7924AEFA2336}" sibTransId="{2785001F-3096-4053-BF70-6E8FE6EBD389}"/>
    <dgm:cxn modelId="{FB43640F-08D5-47D5-9B32-A77A4D31537C}" srcId="{94ECFDE5-7938-4370-ACC1-919E4EA327FF}" destId="{EFA99BB8-1A05-4155-90FD-1A51B17BDD49}" srcOrd="3" destOrd="0" parTransId="{FE8FBAE2-DA02-482A-9467-7353DC52F550}" sibTransId="{CA6B6DDA-8C7F-4CC6-9C7A-A2511A1BAD47}"/>
    <dgm:cxn modelId="{BE8DDB81-71BC-407B-9C3A-6B50CA65E932}" type="presOf" srcId="{210D435B-408B-492C-A656-6802D548BCF9}" destId="{F7ACA76D-9182-425E-AED7-D2EEE790D391}" srcOrd="0" destOrd="0" presId="urn:microsoft.com/office/officeart/2005/8/layout/chevron2"/>
    <dgm:cxn modelId="{B2C0B33D-2B08-495F-B6B2-3A41850B69BE}" type="presParOf" srcId="{19C6C3B3-E261-421A-837A-9C3FEC97D2F9}" destId="{5AAF520D-1D81-4625-9D65-C7930E9F04D3}" srcOrd="0" destOrd="0" presId="urn:microsoft.com/office/officeart/2005/8/layout/chevron2"/>
    <dgm:cxn modelId="{968E36A3-EC59-4430-A59B-3D8C42A0380D}" type="presParOf" srcId="{5AAF520D-1D81-4625-9D65-C7930E9F04D3}" destId="{BFAEC7E5-F400-4BC8-BC9B-EE28CB83BBD2}" srcOrd="0" destOrd="0" presId="urn:microsoft.com/office/officeart/2005/8/layout/chevron2"/>
    <dgm:cxn modelId="{431C480E-37E2-4477-8B2C-11D2253291EF}" type="presParOf" srcId="{5AAF520D-1D81-4625-9D65-C7930E9F04D3}" destId="{70DBD3FE-1890-4C40-8EA8-D06FB16D5F7D}" srcOrd="1" destOrd="0" presId="urn:microsoft.com/office/officeart/2005/8/layout/chevron2"/>
    <dgm:cxn modelId="{6D8A8778-9E35-4001-9D7F-5FC0636A7E8C}" type="presParOf" srcId="{19C6C3B3-E261-421A-837A-9C3FEC97D2F9}" destId="{C9603E7B-A590-4313-A069-0EE213F78508}" srcOrd="1" destOrd="0" presId="urn:microsoft.com/office/officeart/2005/8/layout/chevron2"/>
    <dgm:cxn modelId="{87793A01-1B38-467D-B481-22D38FCB327D}" type="presParOf" srcId="{19C6C3B3-E261-421A-837A-9C3FEC97D2F9}" destId="{8026C5AB-9CC4-4F7D-BCB9-6D08840B03C0}" srcOrd="2" destOrd="0" presId="urn:microsoft.com/office/officeart/2005/8/layout/chevron2"/>
    <dgm:cxn modelId="{BA37E31D-DD9F-44C9-8708-FA56CC0CF4BB}" type="presParOf" srcId="{8026C5AB-9CC4-4F7D-BCB9-6D08840B03C0}" destId="{35A26F73-A859-411E-9C50-A011DC872A68}" srcOrd="0" destOrd="0" presId="urn:microsoft.com/office/officeart/2005/8/layout/chevron2"/>
    <dgm:cxn modelId="{9101F3E3-1267-407A-A181-34F44D18E638}" type="presParOf" srcId="{8026C5AB-9CC4-4F7D-BCB9-6D08840B03C0}" destId="{91D08A21-0E4F-40A0-AA9F-F06585570E74}" srcOrd="1" destOrd="0" presId="urn:microsoft.com/office/officeart/2005/8/layout/chevron2"/>
    <dgm:cxn modelId="{4FF83984-1CEF-4579-980A-2DE055F97C10}" type="presParOf" srcId="{19C6C3B3-E261-421A-837A-9C3FEC97D2F9}" destId="{E925EC02-1024-4B1D-A844-D27542774DC0}" srcOrd="3" destOrd="0" presId="urn:microsoft.com/office/officeart/2005/8/layout/chevron2"/>
    <dgm:cxn modelId="{E33EC4AA-B76D-40AD-8851-DF7D41898384}" type="presParOf" srcId="{19C6C3B3-E261-421A-837A-9C3FEC97D2F9}" destId="{3BD2C120-0E03-4E8E-A9DC-26B46DCEDC6A}" srcOrd="4" destOrd="0" presId="urn:microsoft.com/office/officeart/2005/8/layout/chevron2"/>
    <dgm:cxn modelId="{C3652E3C-CBEB-4DE5-91F1-E020622AFE1A}" type="presParOf" srcId="{3BD2C120-0E03-4E8E-A9DC-26B46DCEDC6A}" destId="{926FF2D3-1F2A-411B-BB8F-F481FFAE9C44}" srcOrd="0" destOrd="0" presId="urn:microsoft.com/office/officeart/2005/8/layout/chevron2"/>
    <dgm:cxn modelId="{1BD385CA-37E3-4606-A0D2-A6ADA2A6BC65}" type="presParOf" srcId="{3BD2C120-0E03-4E8E-A9DC-26B46DCEDC6A}" destId="{0D7677F1-A9CE-4FCE-A234-A65A7F479370}" srcOrd="1" destOrd="0" presId="urn:microsoft.com/office/officeart/2005/8/layout/chevron2"/>
    <dgm:cxn modelId="{CA9F6ADA-C26D-4B2F-961E-FF637D6007EC}" type="presParOf" srcId="{19C6C3B3-E261-421A-837A-9C3FEC97D2F9}" destId="{AFD81DB0-9BCC-49C3-8BB1-970FF1656F46}" srcOrd="5" destOrd="0" presId="urn:microsoft.com/office/officeart/2005/8/layout/chevron2"/>
    <dgm:cxn modelId="{24A14C00-88DE-4F22-AC81-89A24D4DF900}" type="presParOf" srcId="{19C6C3B3-E261-421A-837A-9C3FEC97D2F9}" destId="{74FF25B3-C264-4577-B8D8-B98A2775DED2}" srcOrd="6" destOrd="0" presId="urn:microsoft.com/office/officeart/2005/8/layout/chevron2"/>
    <dgm:cxn modelId="{73583FBB-34BB-44DF-8C42-EE60411AFBA5}" type="presParOf" srcId="{74FF25B3-C264-4577-B8D8-B98A2775DED2}" destId="{87AC5A26-1852-4169-A333-D548B5F9FAB6}" srcOrd="0" destOrd="0" presId="urn:microsoft.com/office/officeart/2005/8/layout/chevron2"/>
    <dgm:cxn modelId="{8913A5E3-B9F6-43D5-A5DF-BEE8A5B5E673}" type="presParOf" srcId="{74FF25B3-C264-4577-B8D8-B98A2775DED2}" destId="{F7ACA76D-9182-425E-AED7-D2EEE790D3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4A2E56B-F005-44E1-9239-9C01EC48C5FF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99710D3-5D04-4CBE-9055-8DF5F9F36898}">
      <dgm:prSet phldrT="[Text]" custT="1"/>
      <dgm:spPr/>
      <dgm:t>
        <a:bodyPr/>
        <a:lstStyle/>
        <a:p>
          <a:r>
            <a:rPr lang="en-US" altLang="zh-CN" sz="1050" dirty="0" smtClean="0"/>
            <a:t>Build week learner pool</a:t>
          </a:r>
          <a:endParaRPr lang="zh-CN" altLang="en-US" sz="1050" dirty="0"/>
        </a:p>
      </dgm:t>
    </dgm:pt>
    <dgm:pt modelId="{E054A093-B935-4023-8B14-2995C6100FD9}" type="parTrans" cxnId="{E0088A23-6E47-483A-9C0B-2115EC699B39}">
      <dgm:prSet/>
      <dgm:spPr/>
      <dgm:t>
        <a:bodyPr/>
        <a:lstStyle/>
        <a:p>
          <a:endParaRPr lang="zh-CN" altLang="en-US"/>
        </a:p>
      </dgm:t>
    </dgm:pt>
    <dgm:pt modelId="{E7095CE3-8140-43D3-9557-3D7DD5866A92}" type="sibTrans" cxnId="{E0088A23-6E47-483A-9C0B-2115EC699B39}">
      <dgm:prSet/>
      <dgm:spPr/>
      <dgm:t>
        <a:bodyPr/>
        <a:lstStyle/>
        <a:p>
          <a:endParaRPr lang="zh-CN" altLang="en-US"/>
        </a:p>
      </dgm:t>
    </dgm:pt>
    <dgm:pt modelId="{C775803A-C872-4F31-81B6-0C785DC828F1}">
      <dgm:prSet phldrT="[Text]"/>
      <dgm:spPr/>
      <dgm:t>
        <a:bodyPr/>
        <a:lstStyle/>
        <a:p>
          <a:r>
            <a:rPr lang="en-US" altLang="zh-CN" dirty="0" smtClean="0"/>
            <a:t>Candidate models</a:t>
          </a:r>
          <a:endParaRPr lang="zh-CN" altLang="en-US" dirty="0"/>
        </a:p>
      </dgm:t>
    </dgm:pt>
    <dgm:pt modelId="{79DEF6A9-A694-4C1D-9A6D-7924AEFA2336}" type="parTrans" cxnId="{F1BAE88D-997B-4773-9691-AF636C90917A}">
      <dgm:prSet/>
      <dgm:spPr/>
      <dgm:t>
        <a:bodyPr/>
        <a:lstStyle/>
        <a:p>
          <a:endParaRPr lang="zh-CN" altLang="en-US"/>
        </a:p>
      </dgm:t>
    </dgm:pt>
    <dgm:pt modelId="{2785001F-3096-4053-BF70-6E8FE6EBD389}" type="sibTrans" cxnId="{F1BAE88D-997B-4773-9691-AF636C90917A}">
      <dgm:prSet/>
      <dgm:spPr/>
      <dgm:t>
        <a:bodyPr/>
        <a:lstStyle/>
        <a:p>
          <a:endParaRPr lang="zh-CN" altLang="en-US"/>
        </a:p>
      </dgm:t>
    </dgm:pt>
    <dgm:pt modelId="{3FFD0A30-D0A7-4287-8487-1305545E5C84}">
      <dgm:prSet phldrT="[Text]"/>
      <dgm:spPr/>
      <dgm:t>
        <a:bodyPr/>
        <a:lstStyle/>
        <a:p>
          <a:r>
            <a:rPr lang="en-US" altLang="zh-CN" dirty="0" smtClean="0"/>
            <a:t>e.g. logistic regression, lasso, RF, SVM</a:t>
          </a:r>
          <a:endParaRPr lang="zh-CN" altLang="en-US" dirty="0"/>
        </a:p>
      </dgm:t>
    </dgm:pt>
    <dgm:pt modelId="{21D91331-82AD-4FF2-A8E5-372457586880}" type="parTrans" cxnId="{107D567B-C05E-4D8F-99AC-34B157EBE14D}">
      <dgm:prSet/>
      <dgm:spPr/>
      <dgm:t>
        <a:bodyPr/>
        <a:lstStyle/>
        <a:p>
          <a:endParaRPr lang="zh-CN" altLang="en-US"/>
        </a:p>
      </dgm:t>
    </dgm:pt>
    <dgm:pt modelId="{7711F718-D2D9-4D4D-B45D-6691EE9F1407}" type="sibTrans" cxnId="{107D567B-C05E-4D8F-99AC-34B157EBE14D}">
      <dgm:prSet/>
      <dgm:spPr/>
      <dgm:t>
        <a:bodyPr/>
        <a:lstStyle/>
        <a:p>
          <a:endParaRPr lang="zh-CN" altLang="en-US"/>
        </a:p>
      </dgm:t>
    </dgm:pt>
    <dgm:pt modelId="{B5816F9A-9DAD-45D7-9852-BF21569BDE29}">
      <dgm:prSet phldrT="[Text]" custT="1"/>
      <dgm:spPr/>
      <dgm:t>
        <a:bodyPr/>
        <a:lstStyle/>
        <a:p>
          <a:r>
            <a:rPr lang="en-US" altLang="zh-CN" sz="1000" dirty="0" smtClean="0"/>
            <a:t>Get performance on validation for all weak learners</a:t>
          </a:r>
          <a:endParaRPr lang="zh-CN" altLang="en-US" sz="1000" dirty="0"/>
        </a:p>
      </dgm:t>
    </dgm:pt>
    <dgm:pt modelId="{CD562D29-FF36-4E83-A1D8-E06412C71E38}" type="parTrans" cxnId="{C130308F-B831-4099-83EE-6FF67633737B}">
      <dgm:prSet/>
      <dgm:spPr/>
      <dgm:t>
        <a:bodyPr/>
        <a:lstStyle/>
        <a:p>
          <a:endParaRPr lang="zh-CN" altLang="en-US"/>
        </a:p>
      </dgm:t>
    </dgm:pt>
    <dgm:pt modelId="{7452F2AC-1591-434E-BD57-A369C2FA5A91}" type="sibTrans" cxnId="{C130308F-B831-4099-83EE-6FF67633737B}">
      <dgm:prSet/>
      <dgm:spPr/>
      <dgm:t>
        <a:bodyPr/>
        <a:lstStyle/>
        <a:p>
          <a:endParaRPr lang="zh-CN" altLang="en-US"/>
        </a:p>
      </dgm:t>
    </dgm:pt>
    <dgm:pt modelId="{72067297-FDDF-41C8-A273-D728EDD6B4FA}">
      <dgm:prSet phldrT="[Text]"/>
      <dgm:spPr/>
      <dgm:t>
        <a:bodyPr/>
        <a:lstStyle/>
        <a:p>
          <a:r>
            <a:rPr lang="en-US" altLang="zh-CN" dirty="0" smtClean="0"/>
            <a:t>Cross validation for all weak learners</a:t>
          </a:r>
          <a:endParaRPr lang="zh-CN" altLang="en-US" dirty="0"/>
        </a:p>
      </dgm:t>
    </dgm:pt>
    <dgm:pt modelId="{FC61B7DC-6E66-48F5-8541-E2CE069E0A0A}" type="parTrans" cxnId="{3120927E-3C20-4A7C-B9FF-8724DBFC3ED3}">
      <dgm:prSet/>
      <dgm:spPr/>
      <dgm:t>
        <a:bodyPr/>
        <a:lstStyle/>
        <a:p>
          <a:endParaRPr lang="zh-CN" altLang="en-US"/>
        </a:p>
      </dgm:t>
    </dgm:pt>
    <dgm:pt modelId="{327D276B-4F6D-493F-8CC2-B3ED796B1E12}" type="sibTrans" cxnId="{3120927E-3C20-4A7C-B9FF-8724DBFC3ED3}">
      <dgm:prSet/>
      <dgm:spPr/>
      <dgm:t>
        <a:bodyPr/>
        <a:lstStyle/>
        <a:p>
          <a:endParaRPr lang="zh-CN" altLang="en-US"/>
        </a:p>
      </dgm:t>
    </dgm:pt>
    <dgm:pt modelId="{1E609055-F165-4954-8D28-591E00EDB587}">
      <dgm:prSet phldrT="[Text]"/>
      <dgm:spPr/>
      <dgm:t>
        <a:bodyPr/>
        <a:lstStyle/>
        <a:p>
          <a:r>
            <a:rPr lang="en-US" altLang="zh-CN" dirty="0" smtClean="0"/>
            <a:t>Get top winners</a:t>
          </a:r>
          <a:endParaRPr lang="zh-CN" altLang="en-US" dirty="0"/>
        </a:p>
      </dgm:t>
    </dgm:pt>
    <dgm:pt modelId="{96772CEA-15A8-450C-86E5-8E6BF64A082F}" type="parTrans" cxnId="{6B93252E-843C-412B-B843-DDA5616E972C}">
      <dgm:prSet/>
      <dgm:spPr/>
      <dgm:t>
        <a:bodyPr/>
        <a:lstStyle/>
        <a:p>
          <a:endParaRPr lang="zh-CN" altLang="en-US"/>
        </a:p>
      </dgm:t>
    </dgm:pt>
    <dgm:pt modelId="{05251138-96A4-4711-9F71-5C7BF936324A}" type="sibTrans" cxnId="{6B93252E-843C-412B-B843-DDA5616E972C}">
      <dgm:prSet/>
      <dgm:spPr/>
      <dgm:t>
        <a:bodyPr/>
        <a:lstStyle/>
        <a:p>
          <a:endParaRPr lang="zh-CN" altLang="en-US"/>
        </a:p>
      </dgm:t>
    </dgm:pt>
    <dgm:pt modelId="{D5FB6D0C-149B-4022-8F04-8DB223BDE752}">
      <dgm:prSet phldrT="[Text]"/>
      <dgm:spPr/>
      <dgm:t>
        <a:bodyPr/>
        <a:lstStyle/>
        <a:p>
          <a:r>
            <a:rPr lang="en-US" altLang="zh-CN" dirty="0" smtClean="0"/>
            <a:t>Several top winners</a:t>
          </a:r>
          <a:endParaRPr lang="zh-CN" altLang="en-US" dirty="0"/>
        </a:p>
      </dgm:t>
    </dgm:pt>
    <dgm:pt modelId="{DB5BA340-EF04-4DD0-8EE8-92405BBB60E3}" type="parTrans" cxnId="{1A5933E8-5CAA-482E-B660-E4636F3E3B5A}">
      <dgm:prSet/>
      <dgm:spPr/>
      <dgm:t>
        <a:bodyPr/>
        <a:lstStyle/>
        <a:p>
          <a:endParaRPr lang="zh-CN" altLang="en-US"/>
        </a:p>
      </dgm:t>
    </dgm:pt>
    <dgm:pt modelId="{48D4E9E6-27CB-42BA-8ED6-503B6C77ED6E}" type="sibTrans" cxnId="{1A5933E8-5CAA-482E-B660-E4636F3E3B5A}">
      <dgm:prSet/>
      <dgm:spPr/>
      <dgm:t>
        <a:bodyPr/>
        <a:lstStyle/>
        <a:p>
          <a:endParaRPr lang="zh-CN" altLang="en-US"/>
        </a:p>
      </dgm:t>
    </dgm:pt>
    <dgm:pt modelId="{94ECFDE5-7938-4370-ACC1-919E4EA327FF}">
      <dgm:prSet/>
      <dgm:spPr/>
      <dgm:t>
        <a:bodyPr/>
        <a:lstStyle/>
        <a:p>
          <a:r>
            <a:rPr lang="en-US" altLang="zh-CN" dirty="0" smtClean="0"/>
            <a:t>Get aggregate prediction on test data</a:t>
          </a:r>
          <a:endParaRPr lang="zh-CN" altLang="en-US" dirty="0"/>
        </a:p>
      </dgm:t>
    </dgm:pt>
    <dgm:pt modelId="{DEE8F36D-1652-4F21-BBAE-CF81931EC52E}" type="parTrans" cxnId="{C1BB2265-F67B-4868-8EFA-E6ED1DAA1E52}">
      <dgm:prSet/>
      <dgm:spPr/>
      <dgm:t>
        <a:bodyPr/>
        <a:lstStyle/>
        <a:p>
          <a:endParaRPr lang="zh-CN" altLang="en-US"/>
        </a:p>
      </dgm:t>
    </dgm:pt>
    <dgm:pt modelId="{5CFBD2F5-7828-46D3-9DEF-0290F271DDD7}" type="sibTrans" cxnId="{C1BB2265-F67B-4868-8EFA-E6ED1DAA1E52}">
      <dgm:prSet/>
      <dgm:spPr/>
      <dgm:t>
        <a:bodyPr/>
        <a:lstStyle/>
        <a:p>
          <a:endParaRPr lang="zh-CN" altLang="en-US"/>
        </a:p>
      </dgm:t>
    </dgm:pt>
    <dgm:pt modelId="{89421B05-2ED3-4062-B938-B1F979238A60}">
      <dgm:prSet phldrT="[Text]"/>
      <dgm:spPr/>
      <dgm:t>
        <a:bodyPr/>
        <a:lstStyle/>
        <a:p>
          <a:r>
            <a:rPr lang="en-US" altLang="zh-CN" dirty="0" smtClean="0"/>
            <a:t>Parameter combination for grid search</a:t>
          </a:r>
          <a:endParaRPr lang="zh-CN" altLang="en-US" dirty="0"/>
        </a:p>
      </dgm:t>
    </dgm:pt>
    <dgm:pt modelId="{06FB0E6E-8099-40CD-B15E-1BFDC7F6B622}" type="parTrans" cxnId="{0E5A1EB5-01C1-4F92-869B-1912ACE4D4BB}">
      <dgm:prSet/>
      <dgm:spPr/>
      <dgm:t>
        <a:bodyPr/>
        <a:lstStyle/>
        <a:p>
          <a:endParaRPr lang="zh-CN" altLang="en-US"/>
        </a:p>
      </dgm:t>
    </dgm:pt>
    <dgm:pt modelId="{19004057-7DF8-4784-84BF-084D100EC598}" type="sibTrans" cxnId="{0E5A1EB5-01C1-4F92-869B-1912ACE4D4BB}">
      <dgm:prSet/>
      <dgm:spPr/>
      <dgm:t>
        <a:bodyPr/>
        <a:lstStyle/>
        <a:p>
          <a:endParaRPr lang="zh-CN" altLang="en-US"/>
        </a:p>
      </dgm:t>
    </dgm:pt>
    <dgm:pt modelId="{1743AA1A-7422-4EE2-996C-AF80A39BE445}">
      <dgm:prSet phldrT="[Text]"/>
      <dgm:spPr/>
      <dgm:t>
        <a:bodyPr/>
        <a:lstStyle/>
        <a:p>
          <a:r>
            <a:rPr lang="en-US" altLang="zh-CN" dirty="0" smtClean="0"/>
            <a:t>Apply the best parameters on validation data for all weak learners</a:t>
          </a:r>
          <a:endParaRPr lang="zh-CN" altLang="en-US" dirty="0"/>
        </a:p>
      </dgm:t>
    </dgm:pt>
    <dgm:pt modelId="{8BF285E0-A405-40C5-AAAB-77DDBFEECC3C}" type="parTrans" cxnId="{E3EF4B2A-2CD9-474C-A80B-2C1EC936B8E6}">
      <dgm:prSet/>
      <dgm:spPr/>
      <dgm:t>
        <a:bodyPr/>
        <a:lstStyle/>
        <a:p>
          <a:endParaRPr lang="zh-CN" altLang="en-US"/>
        </a:p>
      </dgm:t>
    </dgm:pt>
    <dgm:pt modelId="{A033C56F-DFDB-4095-ACFC-E429EE9A320D}" type="sibTrans" cxnId="{E3EF4B2A-2CD9-474C-A80B-2C1EC936B8E6}">
      <dgm:prSet/>
      <dgm:spPr/>
      <dgm:t>
        <a:bodyPr/>
        <a:lstStyle/>
        <a:p>
          <a:endParaRPr lang="zh-CN" altLang="en-US"/>
        </a:p>
      </dgm:t>
    </dgm:pt>
    <dgm:pt modelId="{B9894975-1C1C-4B4B-BCD1-664C56A10F7D}">
      <dgm:prSet phldrT="[Text]"/>
      <dgm:spPr/>
      <dgm:t>
        <a:bodyPr/>
        <a:lstStyle/>
        <a:p>
          <a:r>
            <a:rPr lang="en-US" altLang="zh-CN" dirty="0" smtClean="0"/>
            <a:t>e.g. weak leaners with top 5 precision values on targeting recall</a:t>
          </a:r>
          <a:endParaRPr lang="zh-CN" altLang="en-US" dirty="0"/>
        </a:p>
      </dgm:t>
    </dgm:pt>
    <dgm:pt modelId="{7CE00390-7403-451A-A64A-792C2AFEE50B}" type="parTrans" cxnId="{515C0994-8F4A-4786-AE88-100D2CDB2A80}">
      <dgm:prSet/>
      <dgm:spPr/>
      <dgm:t>
        <a:bodyPr/>
        <a:lstStyle/>
        <a:p>
          <a:endParaRPr lang="zh-CN" altLang="en-US"/>
        </a:p>
      </dgm:t>
    </dgm:pt>
    <dgm:pt modelId="{6444C273-9AFE-46B0-AC66-4ECC25F3E680}" type="sibTrans" cxnId="{515C0994-8F4A-4786-AE88-100D2CDB2A80}">
      <dgm:prSet/>
      <dgm:spPr/>
      <dgm:t>
        <a:bodyPr/>
        <a:lstStyle/>
        <a:p>
          <a:endParaRPr lang="zh-CN" altLang="en-US"/>
        </a:p>
      </dgm:t>
    </dgm:pt>
    <dgm:pt modelId="{210D435B-408B-492C-A656-6802D548BCF9}">
      <dgm:prSet/>
      <dgm:spPr/>
      <dgm:t>
        <a:bodyPr/>
        <a:lstStyle/>
        <a:p>
          <a:r>
            <a:rPr lang="en-US" altLang="zh-CN" dirty="0" smtClean="0"/>
            <a:t>Only use the top winners</a:t>
          </a:r>
          <a:endParaRPr lang="zh-CN" altLang="en-US" dirty="0"/>
        </a:p>
      </dgm:t>
    </dgm:pt>
    <dgm:pt modelId="{A84FC815-AA03-4A04-A573-23746CA7AEAF}" type="parTrans" cxnId="{D5151B1D-4A88-4BAC-B6A7-1AE42311BF3A}">
      <dgm:prSet/>
      <dgm:spPr/>
      <dgm:t>
        <a:bodyPr/>
        <a:lstStyle/>
        <a:p>
          <a:endParaRPr lang="zh-CN" altLang="en-US"/>
        </a:p>
      </dgm:t>
    </dgm:pt>
    <dgm:pt modelId="{B537F25C-AFC1-4612-8A32-693F630CC260}" type="sibTrans" cxnId="{D5151B1D-4A88-4BAC-B6A7-1AE42311BF3A}">
      <dgm:prSet/>
      <dgm:spPr/>
      <dgm:t>
        <a:bodyPr/>
        <a:lstStyle/>
        <a:p>
          <a:endParaRPr lang="zh-CN" altLang="en-US"/>
        </a:p>
      </dgm:t>
    </dgm:pt>
    <dgm:pt modelId="{B3BDBF42-B46C-4538-BF34-A81E7E37CD9A}">
      <dgm:prSet/>
      <dgm:spPr/>
      <dgm:t>
        <a:bodyPr/>
        <a:lstStyle/>
        <a:p>
          <a:r>
            <a:rPr lang="en-US" altLang="zh-CN" dirty="0" smtClean="0"/>
            <a:t>Train models on train + validation</a:t>
          </a:r>
          <a:endParaRPr lang="zh-CN" altLang="en-US" dirty="0"/>
        </a:p>
      </dgm:t>
    </dgm:pt>
    <dgm:pt modelId="{167CA2B9-02AC-463F-89A7-34BBA4963CBE}" type="parTrans" cxnId="{3D4A321D-4E5A-4DD7-BEBE-F0BAD060B66B}">
      <dgm:prSet/>
      <dgm:spPr/>
      <dgm:t>
        <a:bodyPr/>
        <a:lstStyle/>
        <a:p>
          <a:endParaRPr lang="zh-CN" altLang="en-US"/>
        </a:p>
      </dgm:t>
    </dgm:pt>
    <dgm:pt modelId="{7C66D575-635F-477C-B319-A5147DD921E2}" type="sibTrans" cxnId="{3D4A321D-4E5A-4DD7-BEBE-F0BAD060B66B}">
      <dgm:prSet/>
      <dgm:spPr/>
      <dgm:t>
        <a:bodyPr/>
        <a:lstStyle/>
        <a:p>
          <a:endParaRPr lang="zh-CN" altLang="en-US"/>
        </a:p>
      </dgm:t>
    </dgm:pt>
    <dgm:pt modelId="{0344F422-9B58-4730-9948-B347CC8BA471}">
      <dgm:prSet/>
      <dgm:spPr/>
      <dgm:t>
        <a:bodyPr/>
        <a:lstStyle/>
        <a:p>
          <a:r>
            <a:rPr lang="en-US" altLang="zh-CN" dirty="0" smtClean="0"/>
            <a:t>Apply the models on the test data</a:t>
          </a:r>
          <a:endParaRPr lang="zh-CN" altLang="en-US" dirty="0"/>
        </a:p>
      </dgm:t>
    </dgm:pt>
    <dgm:pt modelId="{028F54AD-9D83-42C8-B4C8-BA4D0D9DF818}" type="parTrans" cxnId="{7A26C4E1-799A-43D5-A9FE-EBC8B61CF9C1}">
      <dgm:prSet/>
      <dgm:spPr/>
      <dgm:t>
        <a:bodyPr/>
        <a:lstStyle/>
        <a:p>
          <a:endParaRPr lang="zh-CN" altLang="en-US"/>
        </a:p>
      </dgm:t>
    </dgm:pt>
    <dgm:pt modelId="{5C3E68A3-021E-40D1-8083-9B1DC23834BC}" type="sibTrans" cxnId="{7A26C4E1-799A-43D5-A9FE-EBC8B61CF9C1}">
      <dgm:prSet/>
      <dgm:spPr/>
      <dgm:t>
        <a:bodyPr/>
        <a:lstStyle/>
        <a:p>
          <a:endParaRPr lang="zh-CN" altLang="en-US"/>
        </a:p>
      </dgm:t>
    </dgm:pt>
    <dgm:pt modelId="{EFA99BB8-1A05-4155-90FD-1A51B17BDD49}">
      <dgm:prSet/>
      <dgm:spPr/>
      <dgm:t>
        <a:bodyPr/>
        <a:lstStyle/>
        <a:p>
          <a:r>
            <a:rPr lang="en-US" altLang="zh-CN" dirty="0" smtClean="0"/>
            <a:t>Get aggregated prediction values across all winners</a:t>
          </a:r>
          <a:endParaRPr lang="zh-CN" altLang="en-US" dirty="0"/>
        </a:p>
      </dgm:t>
    </dgm:pt>
    <dgm:pt modelId="{FE8FBAE2-DA02-482A-9467-7353DC52F550}" type="parTrans" cxnId="{FB43640F-08D5-47D5-9B32-A77A4D31537C}">
      <dgm:prSet/>
      <dgm:spPr/>
      <dgm:t>
        <a:bodyPr/>
        <a:lstStyle/>
        <a:p>
          <a:endParaRPr lang="zh-CN" altLang="en-US"/>
        </a:p>
      </dgm:t>
    </dgm:pt>
    <dgm:pt modelId="{CA6B6DDA-8C7F-4CC6-9C7A-A2511A1BAD47}" type="sibTrans" cxnId="{FB43640F-08D5-47D5-9B32-A77A4D31537C}">
      <dgm:prSet/>
      <dgm:spPr/>
      <dgm:t>
        <a:bodyPr/>
        <a:lstStyle/>
        <a:p>
          <a:endParaRPr lang="zh-CN" altLang="en-US"/>
        </a:p>
      </dgm:t>
    </dgm:pt>
    <dgm:pt modelId="{19C6C3B3-E261-421A-837A-9C3FEC97D2F9}" type="pres">
      <dgm:prSet presAssocID="{D4A2E56B-F005-44E1-9239-9C01EC48C5F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AAF520D-1D81-4625-9D65-C7930E9F04D3}" type="pres">
      <dgm:prSet presAssocID="{599710D3-5D04-4CBE-9055-8DF5F9F36898}" presName="composite" presStyleCnt="0"/>
      <dgm:spPr/>
    </dgm:pt>
    <dgm:pt modelId="{BFAEC7E5-F400-4BC8-BC9B-EE28CB83BBD2}" type="pres">
      <dgm:prSet presAssocID="{599710D3-5D04-4CBE-9055-8DF5F9F36898}" presName="parentText" presStyleLbl="alignNode1" presStyleIdx="0" presStyleCnt="4" custScaleY="110219" custLinFactNeighborY="-2952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70DBD3FE-1890-4C40-8EA8-D06FB16D5F7D}" type="pres">
      <dgm:prSet presAssocID="{599710D3-5D04-4CBE-9055-8DF5F9F36898}" presName="descendantText" presStyleLbl="alignAcc1" presStyleIdx="0" presStyleCnt="4" custScaleY="129587" custLinFactNeighborX="0" custLinFactNeighborY="317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603E7B-A590-4313-A069-0EE213F78508}" type="pres">
      <dgm:prSet presAssocID="{E7095CE3-8140-43D3-9557-3D7DD5866A92}" presName="sp" presStyleCnt="0"/>
      <dgm:spPr/>
    </dgm:pt>
    <dgm:pt modelId="{8026C5AB-9CC4-4F7D-BCB9-6D08840B03C0}" type="pres">
      <dgm:prSet presAssocID="{B5816F9A-9DAD-45D7-9852-BF21569BDE29}" presName="composite" presStyleCnt="0"/>
      <dgm:spPr/>
    </dgm:pt>
    <dgm:pt modelId="{35A26F73-A859-411E-9C50-A011DC872A68}" type="pres">
      <dgm:prSet presAssocID="{B5816F9A-9DAD-45D7-9852-BF21569BDE29}" presName="parentText" presStyleLbl="alignNode1" presStyleIdx="1" presStyleCnt="4" custLinFactNeighborY="779">
        <dgm:presLayoutVars>
          <dgm:chMax val="1"/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zh-CN" altLang="en-US"/>
        </a:p>
      </dgm:t>
    </dgm:pt>
    <dgm:pt modelId="{91D08A21-0E4F-40A0-AA9F-F06585570E74}" type="pres">
      <dgm:prSet presAssocID="{B5816F9A-9DAD-45D7-9852-BF21569BDE29}" presName="descendantText" presStyleLbl="alignAcc1" presStyleIdx="1" presStyleCnt="4" custScaleY="134056" custLinFactNeighborX="172" custLinFactNeighborY="2496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925EC02-1024-4B1D-A844-D27542774DC0}" type="pres">
      <dgm:prSet presAssocID="{7452F2AC-1591-434E-BD57-A369C2FA5A91}" presName="sp" presStyleCnt="0"/>
      <dgm:spPr/>
    </dgm:pt>
    <dgm:pt modelId="{3BD2C120-0E03-4E8E-A9DC-26B46DCEDC6A}" type="pres">
      <dgm:prSet presAssocID="{1E609055-F165-4954-8D28-591E00EDB587}" presName="composite" presStyleCnt="0"/>
      <dgm:spPr/>
    </dgm:pt>
    <dgm:pt modelId="{926FF2D3-1F2A-411B-BB8F-F481FFAE9C44}" type="pres">
      <dgm:prSet presAssocID="{1E609055-F165-4954-8D28-591E00EDB587}" presName="parentText" presStyleLbl="alignNode1" presStyleIdx="2" presStyleCnt="4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0D7677F1-A9CE-4FCE-A234-A65A7F479370}" type="pres">
      <dgm:prSet presAssocID="{1E609055-F165-4954-8D28-591E00EDB587}" presName="descendantText" presStyleLbl="alignAcc1" presStyleIdx="2" presStyleCnt="4" custScaleY="152381" custLinFactNeighborY="2496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D81DB0-9BCC-49C3-8BB1-970FF1656F46}" type="pres">
      <dgm:prSet presAssocID="{05251138-96A4-4711-9F71-5C7BF936324A}" presName="sp" presStyleCnt="0"/>
      <dgm:spPr/>
    </dgm:pt>
    <dgm:pt modelId="{74FF25B3-C264-4577-B8D8-B98A2775DED2}" type="pres">
      <dgm:prSet presAssocID="{94ECFDE5-7938-4370-ACC1-919E4EA327FF}" presName="composite" presStyleCnt="0"/>
      <dgm:spPr/>
    </dgm:pt>
    <dgm:pt modelId="{87AC5A26-1852-4169-A333-D548B5F9FAB6}" type="pres">
      <dgm:prSet presAssocID="{94ECFDE5-7938-4370-ACC1-919E4EA327FF}" presName="parentText" presStyleLbl="alignNode1" presStyleIdx="3" presStyleCnt="4" custLinFactNeighborX="-1302" custLinFactNeighborY="3127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zh-CN" altLang="en-US"/>
        </a:p>
      </dgm:t>
    </dgm:pt>
    <dgm:pt modelId="{F7ACA76D-9182-425E-AED7-D2EEE790D391}" type="pres">
      <dgm:prSet presAssocID="{94ECFDE5-7938-4370-ACC1-919E4EA327FF}" presName="descendantText" presStyleLbl="alignAcc1" presStyleIdx="3" presStyleCnt="4" custScaleY="139778" custLinFactNeighborX="173" custLinFactNeighborY="3236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A26C4E1-799A-43D5-A9FE-EBC8B61CF9C1}" srcId="{94ECFDE5-7938-4370-ACC1-919E4EA327FF}" destId="{0344F422-9B58-4730-9948-B347CC8BA471}" srcOrd="2" destOrd="0" parTransId="{028F54AD-9D83-42C8-B4C8-BA4D0D9DF818}" sibTransId="{5C3E68A3-021E-40D1-8083-9B1DC23834BC}"/>
    <dgm:cxn modelId="{9115B82B-8905-481B-8E4C-48565B502A41}" type="presOf" srcId="{1E609055-F165-4954-8D28-591E00EDB587}" destId="{926FF2D3-1F2A-411B-BB8F-F481FFAE9C44}" srcOrd="0" destOrd="0" presId="urn:microsoft.com/office/officeart/2005/8/layout/chevron2"/>
    <dgm:cxn modelId="{C32367E7-BB33-4410-8E87-D4955BE2613F}" type="presOf" srcId="{1743AA1A-7422-4EE2-996C-AF80A39BE445}" destId="{91D08A21-0E4F-40A0-AA9F-F06585570E74}" srcOrd="0" destOrd="1" presId="urn:microsoft.com/office/officeart/2005/8/layout/chevron2"/>
    <dgm:cxn modelId="{D5151B1D-4A88-4BAC-B6A7-1AE42311BF3A}" srcId="{94ECFDE5-7938-4370-ACC1-919E4EA327FF}" destId="{210D435B-408B-492C-A656-6802D548BCF9}" srcOrd="0" destOrd="0" parTransId="{A84FC815-AA03-4A04-A573-23746CA7AEAF}" sibTransId="{B537F25C-AFC1-4612-8A32-693F630CC260}"/>
    <dgm:cxn modelId="{515C0994-8F4A-4786-AE88-100D2CDB2A80}" srcId="{1E609055-F165-4954-8D28-591E00EDB587}" destId="{B9894975-1C1C-4B4B-BCD1-664C56A10F7D}" srcOrd="1" destOrd="0" parTransId="{7CE00390-7403-451A-A64A-792C2AFEE50B}" sibTransId="{6444C273-9AFE-46B0-AC66-4ECC25F3E680}"/>
    <dgm:cxn modelId="{FEBF1D1A-5297-41B0-BD6D-6191B7333727}" type="presOf" srcId="{89421B05-2ED3-4062-B938-B1F979238A60}" destId="{70DBD3FE-1890-4C40-8EA8-D06FB16D5F7D}" srcOrd="0" destOrd="1" presId="urn:microsoft.com/office/officeart/2005/8/layout/chevron2"/>
    <dgm:cxn modelId="{840068C8-A5BD-4571-96E0-0171E3BAC2CE}" type="presOf" srcId="{B3BDBF42-B46C-4538-BF34-A81E7E37CD9A}" destId="{F7ACA76D-9182-425E-AED7-D2EEE790D391}" srcOrd="0" destOrd="1" presId="urn:microsoft.com/office/officeart/2005/8/layout/chevron2"/>
    <dgm:cxn modelId="{A42575A2-BBA2-41DC-8AA0-B97831B3B1AC}" type="presOf" srcId="{210D435B-408B-492C-A656-6802D548BCF9}" destId="{F7ACA76D-9182-425E-AED7-D2EEE790D391}" srcOrd="0" destOrd="0" presId="urn:microsoft.com/office/officeart/2005/8/layout/chevron2"/>
    <dgm:cxn modelId="{6B93252E-843C-412B-B843-DDA5616E972C}" srcId="{D4A2E56B-F005-44E1-9239-9C01EC48C5FF}" destId="{1E609055-F165-4954-8D28-591E00EDB587}" srcOrd="2" destOrd="0" parTransId="{96772CEA-15A8-450C-86E5-8E6BF64A082F}" sibTransId="{05251138-96A4-4711-9F71-5C7BF936324A}"/>
    <dgm:cxn modelId="{3120927E-3C20-4A7C-B9FF-8724DBFC3ED3}" srcId="{B5816F9A-9DAD-45D7-9852-BF21569BDE29}" destId="{72067297-FDDF-41C8-A273-D728EDD6B4FA}" srcOrd="0" destOrd="0" parTransId="{FC61B7DC-6E66-48F5-8541-E2CE069E0A0A}" sibTransId="{327D276B-4F6D-493F-8CC2-B3ED796B1E12}"/>
    <dgm:cxn modelId="{1A5933E8-5CAA-482E-B660-E4636F3E3B5A}" srcId="{1E609055-F165-4954-8D28-591E00EDB587}" destId="{D5FB6D0C-149B-4022-8F04-8DB223BDE752}" srcOrd="0" destOrd="0" parTransId="{DB5BA340-EF04-4DD0-8EE8-92405BBB60E3}" sibTransId="{48D4E9E6-27CB-42BA-8ED6-503B6C77ED6E}"/>
    <dgm:cxn modelId="{2267D16D-2A8D-4B6F-ABAC-034317F84940}" type="presOf" srcId="{94ECFDE5-7938-4370-ACC1-919E4EA327FF}" destId="{87AC5A26-1852-4169-A333-D548B5F9FAB6}" srcOrd="0" destOrd="0" presId="urn:microsoft.com/office/officeart/2005/8/layout/chevron2"/>
    <dgm:cxn modelId="{0E5A1EB5-01C1-4F92-869B-1912ACE4D4BB}" srcId="{599710D3-5D04-4CBE-9055-8DF5F9F36898}" destId="{89421B05-2ED3-4062-B938-B1F979238A60}" srcOrd="1" destOrd="0" parTransId="{06FB0E6E-8099-40CD-B15E-1BFDC7F6B622}" sibTransId="{19004057-7DF8-4784-84BF-084D100EC598}"/>
    <dgm:cxn modelId="{1EBF55BC-3DCB-4A0B-8B23-E63146903399}" type="presOf" srcId="{B9894975-1C1C-4B4B-BCD1-664C56A10F7D}" destId="{0D7677F1-A9CE-4FCE-A234-A65A7F479370}" srcOrd="0" destOrd="1" presId="urn:microsoft.com/office/officeart/2005/8/layout/chevron2"/>
    <dgm:cxn modelId="{EBFF048D-8D48-49D8-A85A-B26A292CCA6F}" type="presOf" srcId="{D4A2E56B-F005-44E1-9239-9C01EC48C5FF}" destId="{19C6C3B3-E261-421A-837A-9C3FEC97D2F9}" srcOrd="0" destOrd="0" presId="urn:microsoft.com/office/officeart/2005/8/layout/chevron2"/>
    <dgm:cxn modelId="{A98769F9-2CEB-481A-8AE7-EE225E99FC36}" type="presOf" srcId="{B5816F9A-9DAD-45D7-9852-BF21569BDE29}" destId="{35A26F73-A859-411E-9C50-A011DC872A68}" srcOrd="0" destOrd="0" presId="urn:microsoft.com/office/officeart/2005/8/layout/chevron2"/>
    <dgm:cxn modelId="{DF0BEFF7-144C-4FB2-B223-553B2E0397EA}" type="presOf" srcId="{EFA99BB8-1A05-4155-90FD-1A51B17BDD49}" destId="{F7ACA76D-9182-425E-AED7-D2EEE790D391}" srcOrd="0" destOrd="3" presId="urn:microsoft.com/office/officeart/2005/8/layout/chevron2"/>
    <dgm:cxn modelId="{878893C6-99E4-41BF-B69A-7CAEDE9E2597}" type="presOf" srcId="{3FFD0A30-D0A7-4287-8487-1305545E5C84}" destId="{70DBD3FE-1890-4C40-8EA8-D06FB16D5F7D}" srcOrd="0" destOrd="2" presId="urn:microsoft.com/office/officeart/2005/8/layout/chevron2"/>
    <dgm:cxn modelId="{E3EF4B2A-2CD9-474C-A80B-2C1EC936B8E6}" srcId="{B5816F9A-9DAD-45D7-9852-BF21569BDE29}" destId="{1743AA1A-7422-4EE2-996C-AF80A39BE445}" srcOrd="1" destOrd="0" parTransId="{8BF285E0-A405-40C5-AAAB-77DDBFEECC3C}" sibTransId="{A033C56F-DFDB-4095-ACFC-E429EE9A320D}"/>
    <dgm:cxn modelId="{C130308F-B831-4099-83EE-6FF67633737B}" srcId="{D4A2E56B-F005-44E1-9239-9C01EC48C5FF}" destId="{B5816F9A-9DAD-45D7-9852-BF21569BDE29}" srcOrd="1" destOrd="0" parTransId="{CD562D29-FF36-4E83-A1D8-E06412C71E38}" sibTransId="{7452F2AC-1591-434E-BD57-A369C2FA5A91}"/>
    <dgm:cxn modelId="{E0088A23-6E47-483A-9C0B-2115EC699B39}" srcId="{D4A2E56B-F005-44E1-9239-9C01EC48C5FF}" destId="{599710D3-5D04-4CBE-9055-8DF5F9F36898}" srcOrd="0" destOrd="0" parTransId="{E054A093-B935-4023-8B14-2995C6100FD9}" sibTransId="{E7095CE3-8140-43D3-9557-3D7DD5866A92}"/>
    <dgm:cxn modelId="{F64BCB33-8707-4BE5-9814-23FC34BC409B}" type="presOf" srcId="{D5FB6D0C-149B-4022-8F04-8DB223BDE752}" destId="{0D7677F1-A9CE-4FCE-A234-A65A7F479370}" srcOrd="0" destOrd="0" presId="urn:microsoft.com/office/officeart/2005/8/layout/chevron2"/>
    <dgm:cxn modelId="{EF9CFB39-17E0-436F-9CD1-51430ABA9570}" type="presOf" srcId="{72067297-FDDF-41C8-A273-D728EDD6B4FA}" destId="{91D08A21-0E4F-40A0-AA9F-F06585570E74}" srcOrd="0" destOrd="0" presId="urn:microsoft.com/office/officeart/2005/8/layout/chevron2"/>
    <dgm:cxn modelId="{107D567B-C05E-4D8F-99AC-34B157EBE14D}" srcId="{599710D3-5D04-4CBE-9055-8DF5F9F36898}" destId="{3FFD0A30-D0A7-4287-8487-1305545E5C84}" srcOrd="2" destOrd="0" parTransId="{21D91331-82AD-4FF2-A8E5-372457586880}" sibTransId="{7711F718-D2D9-4D4D-B45D-6691EE9F1407}"/>
    <dgm:cxn modelId="{5AFAAFF5-627A-4777-BDBD-4336F7AEDBC0}" type="presOf" srcId="{C775803A-C872-4F31-81B6-0C785DC828F1}" destId="{70DBD3FE-1890-4C40-8EA8-D06FB16D5F7D}" srcOrd="0" destOrd="0" presId="urn:microsoft.com/office/officeart/2005/8/layout/chevron2"/>
    <dgm:cxn modelId="{7E5BF074-7336-4266-B282-AAA7162B8D37}" type="presOf" srcId="{0344F422-9B58-4730-9948-B347CC8BA471}" destId="{F7ACA76D-9182-425E-AED7-D2EEE790D391}" srcOrd="0" destOrd="2" presId="urn:microsoft.com/office/officeart/2005/8/layout/chevron2"/>
    <dgm:cxn modelId="{3D4A321D-4E5A-4DD7-BEBE-F0BAD060B66B}" srcId="{94ECFDE5-7938-4370-ACC1-919E4EA327FF}" destId="{B3BDBF42-B46C-4538-BF34-A81E7E37CD9A}" srcOrd="1" destOrd="0" parTransId="{167CA2B9-02AC-463F-89A7-34BBA4963CBE}" sibTransId="{7C66D575-635F-477C-B319-A5147DD921E2}"/>
    <dgm:cxn modelId="{C1BB2265-F67B-4868-8EFA-E6ED1DAA1E52}" srcId="{D4A2E56B-F005-44E1-9239-9C01EC48C5FF}" destId="{94ECFDE5-7938-4370-ACC1-919E4EA327FF}" srcOrd="3" destOrd="0" parTransId="{DEE8F36D-1652-4F21-BBAE-CF81931EC52E}" sibTransId="{5CFBD2F5-7828-46D3-9DEF-0290F271DDD7}"/>
    <dgm:cxn modelId="{F1BAE88D-997B-4773-9691-AF636C90917A}" srcId="{599710D3-5D04-4CBE-9055-8DF5F9F36898}" destId="{C775803A-C872-4F31-81B6-0C785DC828F1}" srcOrd="0" destOrd="0" parTransId="{79DEF6A9-A694-4C1D-9A6D-7924AEFA2336}" sibTransId="{2785001F-3096-4053-BF70-6E8FE6EBD389}"/>
    <dgm:cxn modelId="{FB43640F-08D5-47D5-9B32-A77A4D31537C}" srcId="{94ECFDE5-7938-4370-ACC1-919E4EA327FF}" destId="{EFA99BB8-1A05-4155-90FD-1A51B17BDD49}" srcOrd="3" destOrd="0" parTransId="{FE8FBAE2-DA02-482A-9467-7353DC52F550}" sibTransId="{CA6B6DDA-8C7F-4CC6-9C7A-A2511A1BAD47}"/>
    <dgm:cxn modelId="{1C655282-8257-4E5B-873A-465C3978B0D0}" type="presOf" srcId="{599710D3-5D04-4CBE-9055-8DF5F9F36898}" destId="{BFAEC7E5-F400-4BC8-BC9B-EE28CB83BBD2}" srcOrd="0" destOrd="0" presId="urn:microsoft.com/office/officeart/2005/8/layout/chevron2"/>
    <dgm:cxn modelId="{C0446883-0566-4281-ACD3-AC346B3A3BF8}" type="presParOf" srcId="{19C6C3B3-E261-421A-837A-9C3FEC97D2F9}" destId="{5AAF520D-1D81-4625-9D65-C7930E9F04D3}" srcOrd="0" destOrd="0" presId="urn:microsoft.com/office/officeart/2005/8/layout/chevron2"/>
    <dgm:cxn modelId="{4BA3F7E5-214A-4EA4-831B-37BC88D4057E}" type="presParOf" srcId="{5AAF520D-1D81-4625-9D65-C7930E9F04D3}" destId="{BFAEC7E5-F400-4BC8-BC9B-EE28CB83BBD2}" srcOrd="0" destOrd="0" presId="urn:microsoft.com/office/officeart/2005/8/layout/chevron2"/>
    <dgm:cxn modelId="{C35AF43A-EAB7-4D8A-A15D-5CA75FDA8DA6}" type="presParOf" srcId="{5AAF520D-1D81-4625-9D65-C7930E9F04D3}" destId="{70DBD3FE-1890-4C40-8EA8-D06FB16D5F7D}" srcOrd="1" destOrd="0" presId="urn:microsoft.com/office/officeart/2005/8/layout/chevron2"/>
    <dgm:cxn modelId="{86F3214B-D9D6-4547-AA50-5B4177F0501D}" type="presParOf" srcId="{19C6C3B3-E261-421A-837A-9C3FEC97D2F9}" destId="{C9603E7B-A590-4313-A069-0EE213F78508}" srcOrd="1" destOrd="0" presId="urn:microsoft.com/office/officeart/2005/8/layout/chevron2"/>
    <dgm:cxn modelId="{F8255BED-66D9-47A0-956E-AFF99D4EEDCA}" type="presParOf" srcId="{19C6C3B3-E261-421A-837A-9C3FEC97D2F9}" destId="{8026C5AB-9CC4-4F7D-BCB9-6D08840B03C0}" srcOrd="2" destOrd="0" presId="urn:microsoft.com/office/officeart/2005/8/layout/chevron2"/>
    <dgm:cxn modelId="{3FDEBBCC-0BF2-48FD-9D4D-F7736A2F9B1B}" type="presParOf" srcId="{8026C5AB-9CC4-4F7D-BCB9-6D08840B03C0}" destId="{35A26F73-A859-411E-9C50-A011DC872A68}" srcOrd="0" destOrd="0" presId="urn:microsoft.com/office/officeart/2005/8/layout/chevron2"/>
    <dgm:cxn modelId="{4EF4392E-9B3C-48E7-BF17-97197891F192}" type="presParOf" srcId="{8026C5AB-9CC4-4F7D-BCB9-6D08840B03C0}" destId="{91D08A21-0E4F-40A0-AA9F-F06585570E74}" srcOrd="1" destOrd="0" presId="urn:microsoft.com/office/officeart/2005/8/layout/chevron2"/>
    <dgm:cxn modelId="{9DDAAD32-4DF1-48C6-8589-FC55924A4153}" type="presParOf" srcId="{19C6C3B3-E261-421A-837A-9C3FEC97D2F9}" destId="{E925EC02-1024-4B1D-A844-D27542774DC0}" srcOrd="3" destOrd="0" presId="urn:microsoft.com/office/officeart/2005/8/layout/chevron2"/>
    <dgm:cxn modelId="{4CA3844C-13FA-4A80-B065-B1EB4F88112D}" type="presParOf" srcId="{19C6C3B3-E261-421A-837A-9C3FEC97D2F9}" destId="{3BD2C120-0E03-4E8E-A9DC-26B46DCEDC6A}" srcOrd="4" destOrd="0" presId="urn:microsoft.com/office/officeart/2005/8/layout/chevron2"/>
    <dgm:cxn modelId="{E2B4671D-8133-4D3E-A864-B1713061AB41}" type="presParOf" srcId="{3BD2C120-0E03-4E8E-A9DC-26B46DCEDC6A}" destId="{926FF2D3-1F2A-411B-BB8F-F481FFAE9C44}" srcOrd="0" destOrd="0" presId="urn:microsoft.com/office/officeart/2005/8/layout/chevron2"/>
    <dgm:cxn modelId="{2FE7A57D-D979-4D8D-A786-C99305A2BF8E}" type="presParOf" srcId="{3BD2C120-0E03-4E8E-A9DC-26B46DCEDC6A}" destId="{0D7677F1-A9CE-4FCE-A234-A65A7F479370}" srcOrd="1" destOrd="0" presId="urn:microsoft.com/office/officeart/2005/8/layout/chevron2"/>
    <dgm:cxn modelId="{8C959748-5AF1-484F-A486-1EAE3CE69E7F}" type="presParOf" srcId="{19C6C3B3-E261-421A-837A-9C3FEC97D2F9}" destId="{AFD81DB0-9BCC-49C3-8BB1-970FF1656F46}" srcOrd="5" destOrd="0" presId="urn:microsoft.com/office/officeart/2005/8/layout/chevron2"/>
    <dgm:cxn modelId="{00AEBC57-8937-44FF-8039-A2E6300F9C29}" type="presParOf" srcId="{19C6C3B3-E261-421A-837A-9C3FEC97D2F9}" destId="{74FF25B3-C264-4577-B8D8-B98A2775DED2}" srcOrd="6" destOrd="0" presId="urn:microsoft.com/office/officeart/2005/8/layout/chevron2"/>
    <dgm:cxn modelId="{B8D8C4F4-AF49-4FCA-8C79-56FD6286C39F}" type="presParOf" srcId="{74FF25B3-C264-4577-B8D8-B98A2775DED2}" destId="{87AC5A26-1852-4169-A333-D548B5F9FAB6}" srcOrd="0" destOrd="0" presId="urn:microsoft.com/office/officeart/2005/8/layout/chevron2"/>
    <dgm:cxn modelId="{5F978A6F-02D6-48FB-B3BB-07572E1879C2}" type="presParOf" srcId="{74FF25B3-C264-4577-B8D8-B98A2775DED2}" destId="{F7ACA76D-9182-425E-AED7-D2EEE790D3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1C34157-C126-452D-9B1B-055EB7038AA5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C5CC0F5-B308-4798-986B-22646183065E}">
      <dgm:prSet phldrT="[Text]"/>
      <dgm:spPr/>
      <dgm:t>
        <a:bodyPr/>
        <a:lstStyle/>
        <a:p>
          <a:r>
            <a:rPr lang="en-US" altLang="zh-CN" dirty="0" smtClean="0"/>
            <a:t>Primary objective</a:t>
          </a:r>
          <a:endParaRPr lang="zh-CN" altLang="en-US" dirty="0"/>
        </a:p>
      </dgm:t>
    </dgm:pt>
    <dgm:pt modelId="{E7BE6BEE-0E43-4AB5-9FB1-61FA39A1F15F}" type="parTrans" cxnId="{576250BE-6109-4DC4-893B-703E4FBC04D7}">
      <dgm:prSet/>
      <dgm:spPr/>
      <dgm:t>
        <a:bodyPr/>
        <a:lstStyle/>
        <a:p>
          <a:endParaRPr lang="zh-CN" altLang="en-US"/>
        </a:p>
      </dgm:t>
    </dgm:pt>
    <dgm:pt modelId="{F4CFE9FB-6D93-4D69-8445-B0BA18C98B43}" type="sibTrans" cxnId="{576250BE-6109-4DC4-893B-703E4FBC04D7}">
      <dgm:prSet/>
      <dgm:spPr/>
      <dgm:t>
        <a:bodyPr/>
        <a:lstStyle/>
        <a:p>
          <a:endParaRPr lang="zh-CN" altLang="en-US"/>
        </a:p>
      </dgm:t>
    </dgm:pt>
    <dgm:pt modelId="{DBE8D64F-5339-4C17-8833-AABFA65C44D7}">
      <dgm:prSet phldrT="[Text]"/>
      <dgm:spPr/>
      <dgm:t>
        <a:bodyPr/>
        <a:lstStyle/>
        <a:p>
          <a:r>
            <a:rPr lang="en-US" altLang="zh-CN" dirty="0" smtClean="0"/>
            <a:t>To estimate the overall probability of relapse over a twelve-month period</a:t>
          </a:r>
          <a:endParaRPr lang="zh-CN" altLang="en-US" dirty="0"/>
        </a:p>
      </dgm:t>
    </dgm:pt>
    <dgm:pt modelId="{7FC11969-A399-4C1B-B153-4D9B479EBF0C}" type="parTrans" cxnId="{2D60D312-14D4-4FD2-8396-E1DACA6E2AFD}">
      <dgm:prSet/>
      <dgm:spPr/>
      <dgm:t>
        <a:bodyPr/>
        <a:lstStyle/>
        <a:p>
          <a:endParaRPr lang="zh-CN" altLang="en-US"/>
        </a:p>
      </dgm:t>
    </dgm:pt>
    <dgm:pt modelId="{B71FAB02-7E42-44D3-B1EB-4E2470468D60}" type="sibTrans" cxnId="{2D60D312-14D4-4FD2-8396-E1DACA6E2AFD}">
      <dgm:prSet/>
      <dgm:spPr/>
      <dgm:t>
        <a:bodyPr/>
        <a:lstStyle/>
        <a:p>
          <a:endParaRPr lang="zh-CN" altLang="en-US"/>
        </a:p>
      </dgm:t>
    </dgm:pt>
    <dgm:pt modelId="{F31DFBB6-B854-448F-9308-112DA1E3C6F0}">
      <dgm:prSet phldrT="[Text]"/>
      <dgm:spPr/>
      <dgm:t>
        <a:bodyPr/>
        <a:lstStyle/>
        <a:p>
          <a:r>
            <a:rPr lang="en-US" altLang="zh-CN" dirty="0" smtClean="0"/>
            <a:t>secondary objective</a:t>
          </a:r>
          <a:endParaRPr lang="zh-CN" altLang="en-US" dirty="0"/>
        </a:p>
      </dgm:t>
    </dgm:pt>
    <dgm:pt modelId="{9C4FCA28-66D2-4FA3-9BFE-99EC7A213446}" type="parTrans" cxnId="{8D249EA9-79EB-4040-886F-96E4DD514E68}">
      <dgm:prSet/>
      <dgm:spPr/>
      <dgm:t>
        <a:bodyPr/>
        <a:lstStyle/>
        <a:p>
          <a:endParaRPr lang="zh-CN" altLang="en-US"/>
        </a:p>
      </dgm:t>
    </dgm:pt>
    <dgm:pt modelId="{D9B608E1-CA3B-4B3B-B838-E966D0119FE8}" type="sibTrans" cxnId="{8D249EA9-79EB-4040-886F-96E4DD514E68}">
      <dgm:prSet/>
      <dgm:spPr/>
      <dgm:t>
        <a:bodyPr/>
        <a:lstStyle/>
        <a:p>
          <a:endParaRPr lang="zh-CN" altLang="en-US"/>
        </a:p>
      </dgm:t>
    </dgm:pt>
    <dgm:pt modelId="{2CDBB37C-C616-48F5-86E8-85C2BF7F3C62}">
      <dgm:prSet phldrT="[Text]"/>
      <dgm:spPr/>
      <dgm:t>
        <a:bodyPr/>
        <a:lstStyle/>
        <a:p>
          <a:r>
            <a:rPr lang="en-US" altLang="zh-CN" dirty="0" smtClean="0"/>
            <a:t>To produce predictions of disease activity and progression over a twelve-month period as defined by a number of outcome measures</a:t>
          </a:r>
          <a:endParaRPr lang="zh-CN" altLang="en-US" dirty="0"/>
        </a:p>
      </dgm:t>
    </dgm:pt>
    <dgm:pt modelId="{C60CFE7A-6291-4B67-9040-4D4B6AA55156}" type="parTrans" cxnId="{26D65293-3AE2-4CC8-9FA4-FD38F70EF9FC}">
      <dgm:prSet/>
      <dgm:spPr/>
      <dgm:t>
        <a:bodyPr/>
        <a:lstStyle/>
        <a:p>
          <a:endParaRPr lang="zh-CN" altLang="en-US"/>
        </a:p>
      </dgm:t>
    </dgm:pt>
    <dgm:pt modelId="{B5EAE467-97A6-4DF8-8750-2D80B2D096C7}" type="sibTrans" cxnId="{26D65293-3AE2-4CC8-9FA4-FD38F70EF9FC}">
      <dgm:prSet/>
      <dgm:spPr/>
      <dgm:t>
        <a:bodyPr/>
        <a:lstStyle/>
        <a:p>
          <a:endParaRPr lang="zh-CN" altLang="en-US"/>
        </a:p>
      </dgm:t>
    </dgm:pt>
    <dgm:pt modelId="{BAFE4C8E-AF9E-431A-A96D-96C1718E5E87}">
      <dgm:prSet phldrT="[Text]"/>
      <dgm:spPr/>
      <dgm:t>
        <a:bodyPr/>
        <a:lstStyle/>
        <a:p>
          <a:r>
            <a:rPr lang="en-US" altLang="zh-CN" dirty="0" smtClean="0"/>
            <a:t>exploratory objective</a:t>
          </a:r>
          <a:endParaRPr lang="zh-CN" altLang="en-US" dirty="0"/>
        </a:p>
      </dgm:t>
    </dgm:pt>
    <dgm:pt modelId="{102C731B-5BC2-4853-9B48-AE4C1DB42430}" type="parTrans" cxnId="{3F03BACE-B979-4DDA-B2E6-B54A30676E32}">
      <dgm:prSet/>
      <dgm:spPr/>
      <dgm:t>
        <a:bodyPr/>
        <a:lstStyle/>
        <a:p>
          <a:endParaRPr lang="zh-CN" altLang="en-US"/>
        </a:p>
      </dgm:t>
    </dgm:pt>
    <dgm:pt modelId="{8A7C8690-8F9D-456C-A1A9-E2C0484FD3A2}" type="sibTrans" cxnId="{3F03BACE-B979-4DDA-B2E6-B54A30676E32}">
      <dgm:prSet/>
      <dgm:spPr/>
      <dgm:t>
        <a:bodyPr/>
        <a:lstStyle/>
        <a:p>
          <a:endParaRPr lang="zh-CN" altLang="en-US"/>
        </a:p>
      </dgm:t>
    </dgm:pt>
    <dgm:pt modelId="{051CFF27-348C-496D-B7B8-8831786DD951}">
      <dgm:prSet phldrT="[Text]"/>
      <dgm:spPr/>
      <dgm:t>
        <a:bodyPr/>
        <a:lstStyle/>
        <a:p>
          <a:r>
            <a:rPr lang="en-US" altLang="zh-CN" dirty="0" smtClean="0"/>
            <a:t>To produce predictions using advanced machine learning methods to compare these with baseline estimates using penalized multiple logistic regressions</a:t>
          </a:r>
          <a:endParaRPr lang="zh-CN" altLang="en-US" dirty="0"/>
        </a:p>
      </dgm:t>
    </dgm:pt>
    <dgm:pt modelId="{824A9909-6336-4ADD-AC51-D0D7FFC3DA5E}" type="parTrans" cxnId="{31FB4FF0-46C2-4B1A-821B-30C5947FD034}">
      <dgm:prSet/>
      <dgm:spPr/>
      <dgm:t>
        <a:bodyPr/>
        <a:lstStyle/>
        <a:p>
          <a:endParaRPr lang="zh-CN" altLang="en-US"/>
        </a:p>
      </dgm:t>
    </dgm:pt>
    <dgm:pt modelId="{81ED284D-1BAE-4087-9CCC-3960D76D32D4}" type="sibTrans" cxnId="{31FB4FF0-46C2-4B1A-821B-30C5947FD034}">
      <dgm:prSet/>
      <dgm:spPr/>
      <dgm:t>
        <a:bodyPr/>
        <a:lstStyle/>
        <a:p>
          <a:endParaRPr lang="zh-CN" altLang="en-US"/>
        </a:p>
      </dgm:t>
    </dgm:pt>
    <dgm:pt modelId="{C79F81F1-A3EE-4803-ABB3-78C38241569D}" type="pres">
      <dgm:prSet presAssocID="{51C34157-C126-452D-9B1B-055EB7038AA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F71C2B51-8C65-4C44-A7BC-0795CF7F0FA8}" type="pres">
      <dgm:prSet presAssocID="{BC5CC0F5-B308-4798-986B-22646183065E}" presName="composite" presStyleCnt="0"/>
      <dgm:spPr/>
    </dgm:pt>
    <dgm:pt modelId="{074FE2FB-07B3-4AC0-8A9D-CB079A3D4848}" type="pres">
      <dgm:prSet presAssocID="{BC5CC0F5-B308-4798-986B-22646183065E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A5ED9C-C059-42B3-9A70-2F53D43EF04E}" type="pres">
      <dgm:prSet presAssocID="{BC5CC0F5-B308-4798-986B-22646183065E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178FD56-7129-44DB-B7F5-DCF666AA7589}" type="pres">
      <dgm:prSet presAssocID="{F4CFE9FB-6D93-4D69-8445-B0BA18C98B43}" presName="sp" presStyleCnt="0"/>
      <dgm:spPr/>
    </dgm:pt>
    <dgm:pt modelId="{E50A63BA-1846-43CE-9B8D-347581041CEE}" type="pres">
      <dgm:prSet presAssocID="{F31DFBB6-B854-448F-9308-112DA1E3C6F0}" presName="composite" presStyleCnt="0"/>
      <dgm:spPr/>
    </dgm:pt>
    <dgm:pt modelId="{07882A5D-91C4-45F6-A807-C021A65B3F3A}" type="pres">
      <dgm:prSet presAssocID="{F31DFBB6-B854-448F-9308-112DA1E3C6F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64E4A6B-E1C3-496B-A6DB-E179C27A6EAB}" type="pres">
      <dgm:prSet presAssocID="{F31DFBB6-B854-448F-9308-112DA1E3C6F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2EE298C-C637-43D7-BB76-2F69ED96890C}" type="pres">
      <dgm:prSet presAssocID="{D9B608E1-CA3B-4B3B-B838-E966D0119FE8}" presName="sp" presStyleCnt="0"/>
      <dgm:spPr/>
    </dgm:pt>
    <dgm:pt modelId="{5316A474-D040-4EB7-8E60-FAA12CF5A2CB}" type="pres">
      <dgm:prSet presAssocID="{BAFE4C8E-AF9E-431A-A96D-96C1718E5E87}" presName="composite" presStyleCnt="0"/>
      <dgm:spPr/>
    </dgm:pt>
    <dgm:pt modelId="{3F0A6A85-0FBC-4944-AD80-480F7DF92A61}" type="pres">
      <dgm:prSet presAssocID="{BAFE4C8E-AF9E-431A-A96D-96C1718E5E87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416930C-E71F-4916-838E-D7DDCE9C827E}" type="pres">
      <dgm:prSet presAssocID="{BAFE4C8E-AF9E-431A-A96D-96C1718E5E87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7A9F3CF-D3EB-4C07-819C-183C2B6DA444}" type="presOf" srcId="{BC5CC0F5-B308-4798-986B-22646183065E}" destId="{074FE2FB-07B3-4AC0-8A9D-CB079A3D4848}" srcOrd="0" destOrd="0" presId="urn:microsoft.com/office/officeart/2005/8/layout/chevron2"/>
    <dgm:cxn modelId="{2D60D312-14D4-4FD2-8396-E1DACA6E2AFD}" srcId="{BC5CC0F5-B308-4798-986B-22646183065E}" destId="{DBE8D64F-5339-4C17-8833-AABFA65C44D7}" srcOrd="0" destOrd="0" parTransId="{7FC11969-A399-4C1B-B153-4D9B479EBF0C}" sibTransId="{B71FAB02-7E42-44D3-B1EB-4E2470468D60}"/>
    <dgm:cxn modelId="{3F03BACE-B979-4DDA-B2E6-B54A30676E32}" srcId="{51C34157-C126-452D-9B1B-055EB7038AA5}" destId="{BAFE4C8E-AF9E-431A-A96D-96C1718E5E87}" srcOrd="2" destOrd="0" parTransId="{102C731B-5BC2-4853-9B48-AE4C1DB42430}" sibTransId="{8A7C8690-8F9D-456C-A1A9-E2C0484FD3A2}"/>
    <dgm:cxn modelId="{8285662A-D5C0-46F7-BB0B-27F5B8C3B973}" type="presOf" srcId="{BAFE4C8E-AF9E-431A-A96D-96C1718E5E87}" destId="{3F0A6A85-0FBC-4944-AD80-480F7DF92A61}" srcOrd="0" destOrd="0" presId="urn:microsoft.com/office/officeart/2005/8/layout/chevron2"/>
    <dgm:cxn modelId="{576250BE-6109-4DC4-893B-703E4FBC04D7}" srcId="{51C34157-C126-452D-9B1B-055EB7038AA5}" destId="{BC5CC0F5-B308-4798-986B-22646183065E}" srcOrd="0" destOrd="0" parTransId="{E7BE6BEE-0E43-4AB5-9FB1-61FA39A1F15F}" sibTransId="{F4CFE9FB-6D93-4D69-8445-B0BA18C98B43}"/>
    <dgm:cxn modelId="{DE44C443-73D4-4982-A95E-D5E9FAB01F3B}" type="presOf" srcId="{DBE8D64F-5339-4C17-8833-AABFA65C44D7}" destId="{F1A5ED9C-C059-42B3-9A70-2F53D43EF04E}" srcOrd="0" destOrd="0" presId="urn:microsoft.com/office/officeart/2005/8/layout/chevron2"/>
    <dgm:cxn modelId="{9E111A5E-97AB-4B87-8EA6-3BAB0C7499C5}" type="presOf" srcId="{F31DFBB6-B854-448F-9308-112DA1E3C6F0}" destId="{07882A5D-91C4-45F6-A807-C021A65B3F3A}" srcOrd="0" destOrd="0" presId="urn:microsoft.com/office/officeart/2005/8/layout/chevron2"/>
    <dgm:cxn modelId="{D3FA9D4D-F511-48AD-A5D2-1A1A7881781F}" type="presOf" srcId="{051CFF27-348C-496D-B7B8-8831786DD951}" destId="{5416930C-E71F-4916-838E-D7DDCE9C827E}" srcOrd="0" destOrd="0" presId="urn:microsoft.com/office/officeart/2005/8/layout/chevron2"/>
    <dgm:cxn modelId="{02AD0A18-2B26-45ED-9B65-8B62430E1A28}" type="presOf" srcId="{51C34157-C126-452D-9B1B-055EB7038AA5}" destId="{C79F81F1-A3EE-4803-ABB3-78C38241569D}" srcOrd="0" destOrd="0" presId="urn:microsoft.com/office/officeart/2005/8/layout/chevron2"/>
    <dgm:cxn modelId="{26D65293-3AE2-4CC8-9FA4-FD38F70EF9FC}" srcId="{F31DFBB6-B854-448F-9308-112DA1E3C6F0}" destId="{2CDBB37C-C616-48F5-86E8-85C2BF7F3C62}" srcOrd="0" destOrd="0" parTransId="{C60CFE7A-6291-4B67-9040-4D4B6AA55156}" sibTransId="{B5EAE467-97A6-4DF8-8750-2D80B2D096C7}"/>
    <dgm:cxn modelId="{31FB4FF0-46C2-4B1A-821B-30C5947FD034}" srcId="{BAFE4C8E-AF9E-431A-A96D-96C1718E5E87}" destId="{051CFF27-348C-496D-B7B8-8831786DD951}" srcOrd="0" destOrd="0" parTransId="{824A9909-6336-4ADD-AC51-D0D7FFC3DA5E}" sibTransId="{81ED284D-1BAE-4087-9CCC-3960D76D32D4}"/>
    <dgm:cxn modelId="{65084319-7242-4075-A673-C09C378F716E}" type="presOf" srcId="{2CDBB37C-C616-48F5-86E8-85C2BF7F3C62}" destId="{E64E4A6B-E1C3-496B-A6DB-E179C27A6EAB}" srcOrd="0" destOrd="0" presId="urn:microsoft.com/office/officeart/2005/8/layout/chevron2"/>
    <dgm:cxn modelId="{8D249EA9-79EB-4040-886F-96E4DD514E68}" srcId="{51C34157-C126-452D-9B1B-055EB7038AA5}" destId="{F31DFBB6-B854-448F-9308-112DA1E3C6F0}" srcOrd="1" destOrd="0" parTransId="{9C4FCA28-66D2-4FA3-9BFE-99EC7A213446}" sibTransId="{D9B608E1-CA3B-4B3B-B838-E966D0119FE8}"/>
    <dgm:cxn modelId="{7352A230-1911-475B-A0F6-6FA0238B7A2E}" type="presParOf" srcId="{C79F81F1-A3EE-4803-ABB3-78C38241569D}" destId="{F71C2B51-8C65-4C44-A7BC-0795CF7F0FA8}" srcOrd="0" destOrd="0" presId="urn:microsoft.com/office/officeart/2005/8/layout/chevron2"/>
    <dgm:cxn modelId="{6F70DEED-AB23-4B35-8DB6-721154D4CD1B}" type="presParOf" srcId="{F71C2B51-8C65-4C44-A7BC-0795CF7F0FA8}" destId="{074FE2FB-07B3-4AC0-8A9D-CB079A3D4848}" srcOrd="0" destOrd="0" presId="urn:microsoft.com/office/officeart/2005/8/layout/chevron2"/>
    <dgm:cxn modelId="{E6543660-C645-4F2B-A5C6-DC73958E940C}" type="presParOf" srcId="{F71C2B51-8C65-4C44-A7BC-0795CF7F0FA8}" destId="{F1A5ED9C-C059-42B3-9A70-2F53D43EF04E}" srcOrd="1" destOrd="0" presId="urn:microsoft.com/office/officeart/2005/8/layout/chevron2"/>
    <dgm:cxn modelId="{E4BA43CC-40AC-40AE-8814-8E5631271B04}" type="presParOf" srcId="{C79F81F1-A3EE-4803-ABB3-78C38241569D}" destId="{F178FD56-7129-44DB-B7F5-DCF666AA7589}" srcOrd="1" destOrd="0" presId="urn:microsoft.com/office/officeart/2005/8/layout/chevron2"/>
    <dgm:cxn modelId="{7B63FAD2-150B-422D-AD60-8B4BB2BE0B95}" type="presParOf" srcId="{C79F81F1-A3EE-4803-ABB3-78C38241569D}" destId="{E50A63BA-1846-43CE-9B8D-347581041CEE}" srcOrd="2" destOrd="0" presId="urn:microsoft.com/office/officeart/2005/8/layout/chevron2"/>
    <dgm:cxn modelId="{907E8EC8-441D-4A6B-AD50-8617ADD0E9F9}" type="presParOf" srcId="{E50A63BA-1846-43CE-9B8D-347581041CEE}" destId="{07882A5D-91C4-45F6-A807-C021A65B3F3A}" srcOrd="0" destOrd="0" presId="urn:microsoft.com/office/officeart/2005/8/layout/chevron2"/>
    <dgm:cxn modelId="{E46894E0-DE9F-452B-A03A-6BB8FCD9DFF3}" type="presParOf" srcId="{E50A63BA-1846-43CE-9B8D-347581041CEE}" destId="{E64E4A6B-E1C3-496B-A6DB-E179C27A6EAB}" srcOrd="1" destOrd="0" presId="urn:microsoft.com/office/officeart/2005/8/layout/chevron2"/>
    <dgm:cxn modelId="{38E26F23-3527-482E-9F4B-4AF1F4959FD3}" type="presParOf" srcId="{C79F81F1-A3EE-4803-ABB3-78C38241569D}" destId="{52EE298C-C637-43D7-BB76-2F69ED96890C}" srcOrd="3" destOrd="0" presId="urn:microsoft.com/office/officeart/2005/8/layout/chevron2"/>
    <dgm:cxn modelId="{FA41936B-EB96-441A-81E7-A204EBA836DA}" type="presParOf" srcId="{C79F81F1-A3EE-4803-ABB3-78C38241569D}" destId="{5316A474-D040-4EB7-8E60-FAA12CF5A2CB}" srcOrd="4" destOrd="0" presId="urn:microsoft.com/office/officeart/2005/8/layout/chevron2"/>
    <dgm:cxn modelId="{319EF69B-86B2-4EA0-9A70-C65CA2E3E873}" type="presParOf" srcId="{5316A474-D040-4EB7-8E60-FAA12CF5A2CB}" destId="{3F0A6A85-0FBC-4944-AD80-480F7DF92A61}" srcOrd="0" destOrd="0" presId="urn:microsoft.com/office/officeart/2005/8/layout/chevron2"/>
    <dgm:cxn modelId="{2D76162C-D76D-4B5A-BA09-625A7A1CA2A7}" type="presParOf" srcId="{5316A474-D040-4EB7-8E60-FAA12CF5A2CB}" destId="{5416930C-E71F-4916-838E-D7DDCE9C827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5566C6D-8CA4-47AB-B747-A638DADF46B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ABF27A6-BB40-4B53-A3F2-2D457934F71D}">
      <dgm:prSet phldrT="[Text]"/>
      <dgm:spPr/>
      <dgm:t>
        <a:bodyPr/>
        <a:lstStyle/>
        <a:p>
          <a:r>
            <a:rPr lang="en-US" altLang="zh-CN" dirty="0" smtClean="0"/>
            <a:t>Cut the continuous variables into buckets</a:t>
          </a:r>
          <a:endParaRPr lang="zh-CN" altLang="en-US" dirty="0"/>
        </a:p>
      </dgm:t>
    </dgm:pt>
    <dgm:pt modelId="{14C299AA-6362-4B80-8098-56D54FB0E05B}" type="parTrans" cxnId="{13E4EEA1-AF2F-472C-AFB0-2C0E65B867E2}">
      <dgm:prSet/>
      <dgm:spPr/>
      <dgm:t>
        <a:bodyPr/>
        <a:lstStyle/>
        <a:p>
          <a:endParaRPr lang="zh-CN" altLang="en-US"/>
        </a:p>
      </dgm:t>
    </dgm:pt>
    <dgm:pt modelId="{73B09ED1-DD58-49E1-B2E6-646F5958C523}" type="sibTrans" cxnId="{13E4EEA1-AF2F-472C-AFB0-2C0E65B867E2}">
      <dgm:prSet/>
      <dgm:spPr/>
      <dgm:t>
        <a:bodyPr/>
        <a:lstStyle/>
        <a:p>
          <a:endParaRPr lang="zh-CN" altLang="en-US"/>
        </a:p>
      </dgm:t>
    </dgm:pt>
    <dgm:pt modelId="{00CDF451-C7F1-4FF0-BCFA-BC6CE6F232F1}">
      <dgm:prSet phldrT="[Text]"/>
      <dgm:spPr/>
      <dgm:t>
        <a:bodyPr/>
        <a:lstStyle/>
        <a:p>
          <a:r>
            <a:rPr lang="en-US" altLang="zh-CN" dirty="0" smtClean="0"/>
            <a:t>e.g. age </a:t>
          </a:r>
          <a:r>
            <a:rPr lang="en-US" altLang="zh-CN" dirty="0" smtClean="0">
              <a:sym typeface="Wingdings" panose="05000000000000000000" pitchFamily="2" charset="2"/>
            </a:rPr>
            <a:t> age__le30, age__31to40, age__41to50, age__ge51, </a:t>
          </a:r>
          <a:endParaRPr lang="zh-CN" altLang="en-US" dirty="0"/>
        </a:p>
      </dgm:t>
    </dgm:pt>
    <dgm:pt modelId="{54CCA0C7-3C81-42A5-B008-6E12DACB6691}" type="parTrans" cxnId="{90BFCF8D-AE6B-4E04-A46D-41B6DE1D652C}">
      <dgm:prSet/>
      <dgm:spPr/>
      <dgm:t>
        <a:bodyPr/>
        <a:lstStyle/>
        <a:p>
          <a:endParaRPr lang="zh-CN" altLang="en-US"/>
        </a:p>
      </dgm:t>
    </dgm:pt>
    <dgm:pt modelId="{9D55F42A-4406-49E0-8D03-65DA23F063F6}" type="sibTrans" cxnId="{90BFCF8D-AE6B-4E04-A46D-41B6DE1D652C}">
      <dgm:prSet/>
      <dgm:spPr/>
      <dgm:t>
        <a:bodyPr/>
        <a:lstStyle/>
        <a:p>
          <a:endParaRPr lang="zh-CN" altLang="en-US"/>
        </a:p>
      </dgm:t>
    </dgm:pt>
    <dgm:pt modelId="{A97C7A39-EE00-45E5-9060-260457EDD187}">
      <dgm:prSet phldrT="[Text]"/>
      <dgm:spPr/>
      <dgm:t>
        <a:bodyPr/>
        <a:lstStyle/>
        <a:p>
          <a:r>
            <a:rPr lang="en-US" altLang="zh-CN" dirty="0" smtClean="0"/>
            <a:t>For categorical variables</a:t>
          </a:r>
          <a:endParaRPr lang="zh-CN" altLang="en-US" dirty="0"/>
        </a:p>
      </dgm:t>
    </dgm:pt>
    <dgm:pt modelId="{68DF1F5A-9AF8-4647-8ABD-05FBBD6C3A18}" type="parTrans" cxnId="{E7C1597B-8B7E-4828-AF44-80C2CCE85DA7}">
      <dgm:prSet/>
      <dgm:spPr/>
      <dgm:t>
        <a:bodyPr/>
        <a:lstStyle/>
        <a:p>
          <a:endParaRPr lang="zh-CN" altLang="en-US"/>
        </a:p>
      </dgm:t>
    </dgm:pt>
    <dgm:pt modelId="{BC22F5A0-9205-4B2B-AB16-CE86EB93C235}" type="sibTrans" cxnId="{E7C1597B-8B7E-4828-AF44-80C2CCE85DA7}">
      <dgm:prSet/>
      <dgm:spPr/>
      <dgm:t>
        <a:bodyPr/>
        <a:lstStyle/>
        <a:p>
          <a:endParaRPr lang="zh-CN" altLang="en-US"/>
        </a:p>
      </dgm:t>
    </dgm:pt>
    <dgm:pt modelId="{E5708AE4-C0CE-49C0-8443-450E1FDFF19E}">
      <dgm:prSet phldrT="[Text]"/>
      <dgm:spPr/>
      <dgm:t>
        <a:bodyPr/>
        <a:lstStyle/>
        <a:p>
          <a:r>
            <a:rPr lang="en-US" altLang="zh-CN" dirty="0" smtClean="0"/>
            <a:t>For those variables whose levels have </a:t>
          </a:r>
          <a:r>
            <a:rPr lang="en-US" altLang="zh-CN" smtClean="0"/>
            <a:t>ordinal relationship, merge small levels in categorical variables into 1 level with order</a:t>
          </a:r>
          <a:endParaRPr lang="zh-CN" altLang="en-US" dirty="0"/>
        </a:p>
      </dgm:t>
    </dgm:pt>
    <dgm:pt modelId="{3D056AF0-71EC-4284-99EC-B083FD60DA77}" type="parTrans" cxnId="{6779C51F-ACD7-4B81-BD73-AD6A3C35F713}">
      <dgm:prSet/>
      <dgm:spPr/>
      <dgm:t>
        <a:bodyPr/>
        <a:lstStyle/>
        <a:p>
          <a:endParaRPr lang="zh-CN" altLang="en-US"/>
        </a:p>
      </dgm:t>
    </dgm:pt>
    <dgm:pt modelId="{3AE1E316-D315-4C1C-A745-852B64453859}" type="sibTrans" cxnId="{6779C51F-ACD7-4B81-BD73-AD6A3C35F713}">
      <dgm:prSet/>
      <dgm:spPr/>
      <dgm:t>
        <a:bodyPr/>
        <a:lstStyle/>
        <a:p>
          <a:endParaRPr lang="zh-CN" altLang="en-US"/>
        </a:p>
      </dgm:t>
    </dgm:pt>
    <dgm:pt modelId="{C0BF708C-8AFB-4333-B44D-C646D2156ED1}">
      <dgm:prSet/>
      <dgm:spPr/>
      <dgm:t>
        <a:bodyPr/>
        <a:lstStyle/>
        <a:p>
          <a:r>
            <a:rPr lang="en-US" altLang="zh-CN" dirty="0" smtClean="0"/>
            <a:t>(e.g. </a:t>
          </a:r>
          <a:r>
            <a:rPr lang="en-US" altLang="zh-CN" dirty="0" err="1" smtClean="0"/>
            <a:t>edss_score</a:t>
          </a:r>
          <a:r>
            <a:rPr lang="en-US" altLang="zh-CN" dirty="0" smtClean="0">
              <a:sym typeface="Wingdings" panose="05000000000000000000" pitchFamily="2" charset="2"/>
            </a:rPr>
            <a:t> baseline_edss_score__0_1, 											baseline_edss_score__1d5_2, </a:t>
          </a:r>
          <a:r>
            <a:rPr lang="en-US" altLang="zh-CN" dirty="0" smtClean="0"/>
            <a:t>										baseline_edss_score__ge2d5)</a:t>
          </a:r>
          <a:endParaRPr lang="zh-CN" altLang="en-US" dirty="0"/>
        </a:p>
      </dgm:t>
    </dgm:pt>
    <dgm:pt modelId="{8A7A0C4B-3733-4F7B-B1A4-5D071BA86028}" type="parTrans" cxnId="{5A86D68A-ED6C-46CB-980E-20512B74F196}">
      <dgm:prSet/>
      <dgm:spPr/>
      <dgm:t>
        <a:bodyPr/>
        <a:lstStyle/>
        <a:p>
          <a:endParaRPr lang="zh-CN" altLang="en-US"/>
        </a:p>
      </dgm:t>
    </dgm:pt>
    <dgm:pt modelId="{54D52DFE-D622-41A0-AF04-7E1870339F76}" type="sibTrans" cxnId="{5A86D68A-ED6C-46CB-980E-20512B74F196}">
      <dgm:prSet/>
      <dgm:spPr/>
      <dgm:t>
        <a:bodyPr/>
        <a:lstStyle/>
        <a:p>
          <a:endParaRPr lang="zh-CN" altLang="en-US"/>
        </a:p>
      </dgm:t>
    </dgm:pt>
    <dgm:pt modelId="{FC5BB8F4-B1F4-4131-A2C3-69DB719731AD}">
      <dgm:prSet/>
      <dgm:spPr/>
      <dgm:t>
        <a:bodyPr/>
        <a:lstStyle/>
        <a:p>
          <a:r>
            <a:rPr lang="en-US" altLang="zh-CN" dirty="0" smtClean="0"/>
            <a:t>For those variables whose levels have no ordinal relationship, merge small levels in categorical variables into 1 level without order</a:t>
          </a:r>
          <a:endParaRPr lang="zh-CN" altLang="en-US" dirty="0"/>
        </a:p>
      </dgm:t>
    </dgm:pt>
    <dgm:pt modelId="{73961FA9-484B-4F03-8B0A-41430DA40279}" type="parTrans" cxnId="{BB00FBA8-23D8-4A51-91EC-5361BE92E24C}">
      <dgm:prSet/>
      <dgm:spPr/>
      <dgm:t>
        <a:bodyPr/>
        <a:lstStyle/>
        <a:p>
          <a:endParaRPr lang="zh-CN" altLang="en-US"/>
        </a:p>
      </dgm:t>
    </dgm:pt>
    <dgm:pt modelId="{80B3A188-E8DD-4F13-881E-2588F5A47ACD}" type="sibTrans" cxnId="{BB00FBA8-23D8-4A51-91EC-5361BE92E24C}">
      <dgm:prSet/>
      <dgm:spPr/>
      <dgm:t>
        <a:bodyPr/>
        <a:lstStyle/>
        <a:p>
          <a:endParaRPr lang="zh-CN" altLang="en-US"/>
        </a:p>
      </dgm:t>
    </dgm:pt>
    <dgm:pt modelId="{B4911604-47A4-4F67-B035-15079CFA3F79}">
      <dgm:prSet/>
      <dgm:spPr/>
      <dgm:t>
        <a:bodyPr/>
        <a:lstStyle/>
        <a:p>
          <a:r>
            <a:rPr lang="en-US" altLang="zh-CN" dirty="0" smtClean="0"/>
            <a:t>(e.g. </a:t>
          </a:r>
          <a:r>
            <a:rPr lang="en-US" altLang="zh-CN" dirty="0" err="1" smtClean="0"/>
            <a:t>birth_region</a:t>
          </a:r>
          <a:r>
            <a:rPr lang="en-US" altLang="zh-CN" dirty="0" smtClean="0"/>
            <a:t> </a:t>
          </a:r>
          <a:r>
            <a:rPr lang="en-US" altLang="zh-CN" dirty="0" smtClean="0">
              <a:sym typeface="Wingdings" panose="05000000000000000000" pitchFamily="2" charset="2"/>
            </a:rPr>
            <a:t> birth_region__</a:t>
          </a:r>
          <a:r>
            <a:rPr lang="en-US" altLang="zh-CN" dirty="0" err="1" smtClean="0">
              <a:sym typeface="Wingdings" panose="05000000000000000000" pitchFamily="2" charset="2"/>
            </a:rPr>
            <a:t>Central_Europe</a:t>
          </a:r>
          <a:r>
            <a:rPr lang="en-US" altLang="zh-CN" dirty="0" smtClean="0">
              <a:sym typeface="Wingdings" panose="05000000000000000000" pitchFamily="2" charset="2"/>
            </a:rPr>
            <a:t>, 										</a:t>
          </a:r>
          <a:r>
            <a:rPr lang="en-US" altLang="zh-CN" dirty="0" err="1" smtClean="0">
              <a:sym typeface="Wingdings" panose="05000000000000000000" pitchFamily="2" charset="2"/>
            </a:rPr>
            <a:t>birth_region__missing</a:t>
          </a:r>
          <a:r>
            <a:rPr lang="en-US" altLang="zh-CN" dirty="0" smtClean="0">
              <a:sym typeface="Wingdings" panose="05000000000000000000" pitchFamily="2" charset="2"/>
            </a:rPr>
            <a:t>, </a:t>
          </a:r>
          <a:r>
            <a:rPr lang="en-US" altLang="zh-CN" dirty="0" smtClean="0"/>
            <a:t>											</a:t>
          </a:r>
          <a:r>
            <a:rPr lang="en-US" altLang="zh-CN" dirty="0" err="1" smtClean="0"/>
            <a:t>birth_region__others</a:t>
          </a:r>
          <a:r>
            <a:rPr lang="en-US" altLang="zh-CN" dirty="0" smtClean="0"/>
            <a:t>)</a:t>
          </a:r>
          <a:endParaRPr lang="zh-CN" altLang="en-US" dirty="0"/>
        </a:p>
      </dgm:t>
    </dgm:pt>
    <dgm:pt modelId="{FF29965B-2C72-4596-A4AF-4C8CBCA3EBD8}" type="parTrans" cxnId="{4894BBBE-1C5E-4D43-8A0B-5700AE41A230}">
      <dgm:prSet/>
      <dgm:spPr/>
      <dgm:t>
        <a:bodyPr/>
        <a:lstStyle/>
        <a:p>
          <a:endParaRPr lang="zh-CN" altLang="en-US"/>
        </a:p>
      </dgm:t>
    </dgm:pt>
    <dgm:pt modelId="{AA546D0E-E167-43EE-9474-CB0E9C38F788}" type="sibTrans" cxnId="{4894BBBE-1C5E-4D43-8A0B-5700AE41A230}">
      <dgm:prSet/>
      <dgm:spPr/>
      <dgm:t>
        <a:bodyPr/>
        <a:lstStyle/>
        <a:p>
          <a:endParaRPr lang="zh-CN" altLang="en-US"/>
        </a:p>
      </dgm:t>
    </dgm:pt>
    <dgm:pt modelId="{2046FE78-A66F-409D-ABCE-51996EA8CE13}">
      <dgm:prSet/>
      <dgm:spPr/>
      <dgm:t>
        <a:bodyPr/>
        <a:lstStyle/>
        <a:p>
          <a:r>
            <a:rPr lang="en-US" altLang="zh-CN" dirty="0" smtClean="0"/>
            <a:t>Convert categorical and numeric variables to dummy variables</a:t>
          </a:r>
          <a:endParaRPr lang="zh-CN" altLang="en-US" dirty="0"/>
        </a:p>
      </dgm:t>
    </dgm:pt>
    <dgm:pt modelId="{7E6B4B12-BBC2-4E72-8C3E-13D5F5C07E9D}" type="parTrans" cxnId="{FF9EFD57-4B2B-4E80-89C1-806F4017059A}">
      <dgm:prSet/>
      <dgm:spPr/>
      <dgm:t>
        <a:bodyPr/>
        <a:lstStyle/>
        <a:p>
          <a:endParaRPr lang="zh-CN" altLang="en-US"/>
        </a:p>
      </dgm:t>
    </dgm:pt>
    <dgm:pt modelId="{DC8FDB5A-2109-4BA2-A6B1-A6C240699297}" type="sibTrans" cxnId="{FF9EFD57-4B2B-4E80-89C1-806F4017059A}">
      <dgm:prSet/>
      <dgm:spPr/>
      <dgm:t>
        <a:bodyPr/>
        <a:lstStyle/>
        <a:p>
          <a:endParaRPr lang="zh-CN" altLang="en-US"/>
        </a:p>
      </dgm:t>
    </dgm:pt>
    <dgm:pt modelId="{EA695ACF-DB20-4701-8D60-D2F055C2A5EB}">
      <dgm:prSet/>
      <dgm:spPr/>
      <dgm:t>
        <a:bodyPr/>
        <a:lstStyle/>
        <a:p>
          <a:endParaRPr lang="zh-CN" altLang="en-US" dirty="0"/>
        </a:p>
      </dgm:t>
    </dgm:pt>
    <dgm:pt modelId="{DBA83424-F174-4778-8627-413342700E85}" type="parTrans" cxnId="{77FD720E-5045-4026-BD58-3D2C6C5CDC4A}">
      <dgm:prSet/>
      <dgm:spPr/>
      <dgm:t>
        <a:bodyPr/>
        <a:lstStyle/>
        <a:p>
          <a:endParaRPr lang="zh-CN" altLang="en-US"/>
        </a:p>
      </dgm:t>
    </dgm:pt>
    <dgm:pt modelId="{15C00ED6-7E8C-491F-B582-7DCB12D91F9E}" type="sibTrans" cxnId="{77FD720E-5045-4026-BD58-3D2C6C5CDC4A}">
      <dgm:prSet/>
      <dgm:spPr/>
      <dgm:t>
        <a:bodyPr/>
        <a:lstStyle/>
        <a:p>
          <a:endParaRPr lang="zh-CN" altLang="en-US"/>
        </a:p>
      </dgm:t>
    </dgm:pt>
    <dgm:pt modelId="{F96ACED9-4F65-408B-9795-07466138A090}">
      <dgm:prSet/>
      <dgm:spPr/>
      <dgm:t>
        <a:bodyPr/>
        <a:lstStyle/>
        <a:p>
          <a:r>
            <a:rPr lang="en-US" altLang="zh-CN" dirty="0" smtClean="0"/>
            <a:t>Some adjustment according to client’s requirement for the variables included in modeling</a:t>
          </a:r>
          <a:endParaRPr lang="zh-CN" altLang="en-US" dirty="0"/>
        </a:p>
      </dgm:t>
    </dgm:pt>
    <dgm:pt modelId="{C60EDB3D-D5F3-4AA6-881D-6B8A6DE178CE}" type="parTrans" cxnId="{9522F424-2C70-4DAB-B1F0-0BAC9D1C9B87}">
      <dgm:prSet/>
      <dgm:spPr/>
      <dgm:t>
        <a:bodyPr/>
        <a:lstStyle/>
        <a:p>
          <a:endParaRPr lang="zh-CN" altLang="en-US"/>
        </a:p>
      </dgm:t>
    </dgm:pt>
    <dgm:pt modelId="{FBD194EB-EA2F-4BC2-8DBE-E2F0E9070702}" type="sibTrans" cxnId="{9522F424-2C70-4DAB-B1F0-0BAC9D1C9B87}">
      <dgm:prSet/>
      <dgm:spPr/>
      <dgm:t>
        <a:bodyPr/>
        <a:lstStyle/>
        <a:p>
          <a:endParaRPr lang="zh-CN" altLang="en-US"/>
        </a:p>
      </dgm:t>
    </dgm:pt>
    <dgm:pt modelId="{6CD3E4B0-9D08-46C8-8E6C-A243BAB2DD32}" type="pres">
      <dgm:prSet presAssocID="{05566C6D-8CA4-47AB-B747-A638DADF46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C3790E98-AFDA-4BF8-9438-C9755DD22987}" type="pres">
      <dgm:prSet presAssocID="{4ABF27A6-BB40-4B53-A3F2-2D457934F71D}" presName="parentLin" presStyleCnt="0"/>
      <dgm:spPr/>
    </dgm:pt>
    <dgm:pt modelId="{FA26F9D7-450E-4C76-ACD9-BE0F2EAAF090}" type="pres">
      <dgm:prSet presAssocID="{4ABF27A6-BB40-4B53-A3F2-2D457934F71D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004B6CD2-7A12-4C0C-9F5E-D8DB8BD1681F}" type="pres">
      <dgm:prSet presAssocID="{4ABF27A6-BB40-4B53-A3F2-2D457934F71D}" presName="parentText" presStyleLbl="node1" presStyleIdx="0" presStyleCnt="4" custScaleX="55104" custScaleY="116731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8C490D3-56FF-4D52-956C-160A451FFCE7}" type="pres">
      <dgm:prSet presAssocID="{4ABF27A6-BB40-4B53-A3F2-2D457934F71D}" presName="negativeSpace" presStyleCnt="0"/>
      <dgm:spPr/>
    </dgm:pt>
    <dgm:pt modelId="{4ECE28F7-B338-4C61-B064-22C38FA18B42}" type="pres">
      <dgm:prSet presAssocID="{4ABF27A6-BB40-4B53-A3F2-2D457934F71D}" presName="childText" presStyleLbl="conFgAcc1" presStyleIdx="0" presStyleCnt="4" custScaleX="8067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5C8A179-E6E4-4110-8C66-DF57FB227D19}" type="pres">
      <dgm:prSet presAssocID="{73B09ED1-DD58-49E1-B2E6-646F5958C523}" presName="spaceBetweenRectangles" presStyleCnt="0"/>
      <dgm:spPr/>
    </dgm:pt>
    <dgm:pt modelId="{07DDA735-ABEB-4B49-8E6A-6C9AC9F16DEA}" type="pres">
      <dgm:prSet presAssocID="{A97C7A39-EE00-45E5-9060-260457EDD187}" presName="parentLin" presStyleCnt="0"/>
      <dgm:spPr/>
    </dgm:pt>
    <dgm:pt modelId="{25F2F251-72BA-4FFB-869A-211909FAB8E2}" type="pres">
      <dgm:prSet presAssocID="{A97C7A39-EE00-45E5-9060-260457EDD187}" presName="parentLeftMargin" presStyleLbl="node1" presStyleIdx="0" presStyleCnt="4"/>
      <dgm:spPr/>
      <dgm:t>
        <a:bodyPr/>
        <a:lstStyle/>
        <a:p>
          <a:endParaRPr lang="zh-CN" altLang="en-US"/>
        </a:p>
      </dgm:t>
    </dgm:pt>
    <dgm:pt modelId="{DC7BAD95-B9E5-42F9-B717-E02FBC387C8D}" type="pres">
      <dgm:prSet presAssocID="{A97C7A39-EE00-45E5-9060-260457EDD187}" presName="parentText" presStyleLbl="node1" presStyleIdx="1" presStyleCnt="4" custScaleX="49210" custScaleY="110731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1CF34D7-62D8-42EE-A87E-172BCA4B22B1}" type="pres">
      <dgm:prSet presAssocID="{A97C7A39-EE00-45E5-9060-260457EDD187}" presName="negativeSpace" presStyleCnt="0"/>
      <dgm:spPr/>
    </dgm:pt>
    <dgm:pt modelId="{8D1B2AED-9A79-43C1-B921-6BFF6DFEBD38}" type="pres">
      <dgm:prSet presAssocID="{A97C7A39-EE00-45E5-9060-260457EDD187}" presName="childText" presStyleLbl="conFgAcc1" presStyleIdx="1" presStyleCnt="4" custScaleX="8263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8435737-6FEA-440E-8C0C-5D0D3961C8A2}" type="pres">
      <dgm:prSet presAssocID="{BC22F5A0-9205-4B2B-AB16-CE86EB93C235}" presName="spaceBetweenRectangles" presStyleCnt="0"/>
      <dgm:spPr/>
    </dgm:pt>
    <dgm:pt modelId="{62EA632C-B773-49FC-99D8-CF4020AD4417}" type="pres">
      <dgm:prSet presAssocID="{2046FE78-A66F-409D-ABCE-51996EA8CE13}" presName="parentLin" presStyleCnt="0"/>
      <dgm:spPr/>
    </dgm:pt>
    <dgm:pt modelId="{0A5FC3DB-ADC5-44F5-8C17-F2ED71EA2637}" type="pres">
      <dgm:prSet presAssocID="{2046FE78-A66F-409D-ABCE-51996EA8CE13}" presName="parentLeftMargin" presStyleLbl="node1" presStyleIdx="1" presStyleCnt="4"/>
      <dgm:spPr/>
      <dgm:t>
        <a:bodyPr/>
        <a:lstStyle/>
        <a:p>
          <a:endParaRPr lang="zh-CN" altLang="en-US"/>
        </a:p>
      </dgm:t>
    </dgm:pt>
    <dgm:pt modelId="{81361FA1-B880-4F7E-AD2B-ADF45D9FA494}" type="pres">
      <dgm:prSet presAssocID="{2046FE78-A66F-409D-ABCE-51996EA8CE13}" presName="parentText" presStyleLbl="node1" presStyleIdx="2" presStyleCnt="4" custScaleX="78369" custScaleY="10401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3ECAE0-2292-4D79-83E3-1C681D52291B}" type="pres">
      <dgm:prSet presAssocID="{2046FE78-A66F-409D-ABCE-51996EA8CE13}" presName="negativeSpace" presStyleCnt="0"/>
      <dgm:spPr/>
    </dgm:pt>
    <dgm:pt modelId="{D890D955-2929-4315-9A18-B8C6AA659BDE}" type="pres">
      <dgm:prSet presAssocID="{2046FE78-A66F-409D-ABCE-51996EA8CE13}" presName="childText" presStyleLbl="conFgAcc1" presStyleIdx="2" presStyleCnt="4" custScaleX="57006" custScaleY="8945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9178FFE-4767-4F25-99C3-27F3C0042DF5}" type="pres">
      <dgm:prSet presAssocID="{DC8FDB5A-2109-4BA2-A6B1-A6C240699297}" presName="spaceBetweenRectangles" presStyleCnt="0"/>
      <dgm:spPr/>
    </dgm:pt>
    <dgm:pt modelId="{9926B93D-E74F-4C97-9210-8F67F5A424D3}" type="pres">
      <dgm:prSet presAssocID="{F96ACED9-4F65-408B-9795-07466138A090}" presName="parentLin" presStyleCnt="0"/>
      <dgm:spPr/>
    </dgm:pt>
    <dgm:pt modelId="{61C6C6F5-CF28-444F-91D3-9035A38985B6}" type="pres">
      <dgm:prSet presAssocID="{F96ACED9-4F65-408B-9795-07466138A090}" presName="parentLeftMargin" presStyleLbl="node1" presStyleIdx="2" presStyleCnt="4"/>
      <dgm:spPr/>
      <dgm:t>
        <a:bodyPr/>
        <a:lstStyle/>
        <a:p>
          <a:endParaRPr lang="zh-CN" altLang="en-US"/>
        </a:p>
      </dgm:t>
    </dgm:pt>
    <dgm:pt modelId="{D04304C5-9756-4317-9924-C641F600D992}" type="pres">
      <dgm:prSet presAssocID="{F96ACED9-4F65-408B-9795-07466138A090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51414E-41C7-4501-B806-5A30C4459C27}" type="pres">
      <dgm:prSet presAssocID="{F96ACED9-4F65-408B-9795-07466138A090}" presName="negativeSpace" presStyleCnt="0"/>
      <dgm:spPr/>
    </dgm:pt>
    <dgm:pt modelId="{678A4E80-C570-4841-BB34-4C2246977647}" type="pres">
      <dgm:prSet presAssocID="{F96ACED9-4F65-408B-9795-07466138A090}" presName="childText" presStyleLbl="conFgAcc1" presStyleIdx="3" presStyleCnt="4" custScaleX="70469" custScaleY="92186">
        <dgm:presLayoutVars>
          <dgm:bulletEnabled val="1"/>
        </dgm:presLayoutVars>
      </dgm:prSet>
      <dgm:spPr/>
    </dgm:pt>
  </dgm:ptLst>
  <dgm:cxnLst>
    <dgm:cxn modelId="{4894BBBE-1C5E-4D43-8A0B-5700AE41A230}" srcId="{A97C7A39-EE00-45E5-9060-260457EDD187}" destId="{B4911604-47A4-4F67-B035-15079CFA3F79}" srcOrd="3" destOrd="0" parTransId="{FF29965B-2C72-4596-A4AF-4C8CBCA3EBD8}" sibTransId="{AA546D0E-E167-43EE-9474-CB0E9C38F788}"/>
    <dgm:cxn modelId="{6779C51F-ACD7-4B81-BD73-AD6A3C35F713}" srcId="{A97C7A39-EE00-45E5-9060-260457EDD187}" destId="{E5708AE4-C0CE-49C0-8443-450E1FDFF19E}" srcOrd="0" destOrd="0" parTransId="{3D056AF0-71EC-4284-99EC-B083FD60DA77}" sibTransId="{3AE1E316-D315-4C1C-A745-852B64453859}"/>
    <dgm:cxn modelId="{728ED922-557A-4E3E-B9C5-F38BEDD9A7BF}" type="presOf" srcId="{4ABF27A6-BB40-4B53-A3F2-2D457934F71D}" destId="{004B6CD2-7A12-4C0C-9F5E-D8DB8BD1681F}" srcOrd="1" destOrd="0" presId="urn:microsoft.com/office/officeart/2005/8/layout/list1"/>
    <dgm:cxn modelId="{90BFCF8D-AE6B-4E04-A46D-41B6DE1D652C}" srcId="{4ABF27A6-BB40-4B53-A3F2-2D457934F71D}" destId="{00CDF451-C7F1-4FF0-BCFA-BC6CE6F232F1}" srcOrd="0" destOrd="0" parTransId="{54CCA0C7-3C81-42A5-B008-6E12DACB6691}" sibTransId="{9D55F42A-4406-49E0-8D03-65DA23F063F6}"/>
    <dgm:cxn modelId="{B2749999-A825-4CF2-93BF-62C4EBCE17B0}" type="presOf" srcId="{2046FE78-A66F-409D-ABCE-51996EA8CE13}" destId="{81361FA1-B880-4F7E-AD2B-ADF45D9FA494}" srcOrd="1" destOrd="0" presId="urn:microsoft.com/office/officeart/2005/8/layout/list1"/>
    <dgm:cxn modelId="{77FD720E-5045-4026-BD58-3D2C6C5CDC4A}" srcId="{2046FE78-A66F-409D-ABCE-51996EA8CE13}" destId="{EA695ACF-DB20-4701-8D60-D2F055C2A5EB}" srcOrd="0" destOrd="0" parTransId="{DBA83424-F174-4778-8627-413342700E85}" sibTransId="{15C00ED6-7E8C-491F-B582-7DCB12D91F9E}"/>
    <dgm:cxn modelId="{BB00FBA8-23D8-4A51-91EC-5361BE92E24C}" srcId="{A97C7A39-EE00-45E5-9060-260457EDD187}" destId="{FC5BB8F4-B1F4-4131-A2C3-69DB719731AD}" srcOrd="2" destOrd="0" parTransId="{73961FA9-484B-4F03-8B0A-41430DA40279}" sibTransId="{80B3A188-E8DD-4F13-881E-2588F5A47ACD}"/>
    <dgm:cxn modelId="{214FC37F-79F2-4D80-BB64-A436FF1BAFB8}" type="presOf" srcId="{E5708AE4-C0CE-49C0-8443-450E1FDFF19E}" destId="{8D1B2AED-9A79-43C1-B921-6BFF6DFEBD38}" srcOrd="0" destOrd="0" presId="urn:microsoft.com/office/officeart/2005/8/layout/list1"/>
    <dgm:cxn modelId="{830EE737-21E4-430A-BA8B-4FDC15FEFB82}" type="presOf" srcId="{A97C7A39-EE00-45E5-9060-260457EDD187}" destId="{25F2F251-72BA-4FFB-869A-211909FAB8E2}" srcOrd="0" destOrd="0" presId="urn:microsoft.com/office/officeart/2005/8/layout/list1"/>
    <dgm:cxn modelId="{6631A432-4EB4-4E5E-94E9-94E9458A194F}" type="presOf" srcId="{F96ACED9-4F65-408B-9795-07466138A090}" destId="{D04304C5-9756-4317-9924-C641F600D992}" srcOrd="1" destOrd="0" presId="urn:microsoft.com/office/officeart/2005/8/layout/list1"/>
    <dgm:cxn modelId="{FF9EFD57-4B2B-4E80-89C1-806F4017059A}" srcId="{05566C6D-8CA4-47AB-B747-A638DADF46B3}" destId="{2046FE78-A66F-409D-ABCE-51996EA8CE13}" srcOrd="2" destOrd="0" parTransId="{7E6B4B12-BBC2-4E72-8C3E-13D5F5C07E9D}" sibTransId="{DC8FDB5A-2109-4BA2-A6B1-A6C240699297}"/>
    <dgm:cxn modelId="{9522F424-2C70-4DAB-B1F0-0BAC9D1C9B87}" srcId="{05566C6D-8CA4-47AB-B747-A638DADF46B3}" destId="{F96ACED9-4F65-408B-9795-07466138A090}" srcOrd="3" destOrd="0" parTransId="{C60EDB3D-D5F3-4AA6-881D-6B8A6DE178CE}" sibTransId="{FBD194EB-EA2F-4BC2-8DBE-E2F0E9070702}"/>
    <dgm:cxn modelId="{633D919B-A3B1-487D-9153-C5FA2AAE72EC}" type="presOf" srcId="{C0BF708C-8AFB-4333-B44D-C646D2156ED1}" destId="{8D1B2AED-9A79-43C1-B921-6BFF6DFEBD38}" srcOrd="0" destOrd="1" presId="urn:microsoft.com/office/officeart/2005/8/layout/list1"/>
    <dgm:cxn modelId="{E7C1597B-8B7E-4828-AF44-80C2CCE85DA7}" srcId="{05566C6D-8CA4-47AB-B747-A638DADF46B3}" destId="{A97C7A39-EE00-45E5-9060-260457EDD187}" srcOrd="1" destOrd="0" parTransId="{68DF1F5A-9AF8-4647-8ABD-05FBBD6C3A18}" sibTransId="{BC22F5A0-9205-4B2B-AB16-CE86EB93C235}"/>
    <dgm:cxn modelId="{6BD8EB74-AC49-4B4B-95FC-858BA56E8271}" type="presOf" srcId="{EA695ACF-DB20-4701-8D60-D2F055C2A5EB}" destId="{D890D955-2929-4315-9A18-B8C6AA659BDE}" srcOrd="0" destOrd="0" presId="urn:microsoft.com/office/officeart/2005/8/layout/list1"/>
    <dgm:cxn modelId="{1F4FD804-7F40-47CB-9325-4AEEF4B297B9}" type="presOf" srcId="{FC5BB8F4-B1F4-4131-A2C3-69DB719731AD}" destId="{8D1B2AED-9A79-43C1-B921-6BFF6DFEBD38}" srcOrd="0" destOrd="2" presId="urn:microsoft.com/office/officeart/2005/8/layout/list1"/>
    <dgm:cxn modelId="{13E4EEA1-AF2F-472C-AFB0-2C0E65B867E2}" srcId="{05566C6D-8CA4-47AB-B747-A638DADF46B3}" destId="{4ABF27A6-BB40-4B53-A3F2-2D457934F71D}" srcOrd="0" destOrd="0" parTransId="{14C299AA-6362-4B80-8098-56D54FB0E05B}" sibTransId="{73B09ED1-DD58-49E1-B2E6-646F5958C523}"/>
    <dgm:cxn modelId="{D9B5816D-D179-4EC4-B2B8-CA61AB93A0E5}" type="presOf" srcId="{05566C6D-8CA4-47AB-B747-A638DADF46B3}" destId="{6CD3E4B0-9D08-46C8-8E6C-A243BAB2DD32}" srcOrd="0" destOrd="0" presId="urn:microsoft.com/office/officeart/2005/8/layout/list1"/>
    <dgm:cxn modelId="{E1446AC8-7D2F-41E4-A5EB-12074E5873B8}" type="presOf" srcId="{2046FE78-A66F-409D-ABCE-51996EA8CE13}" destId="{0A5FC3DB-ADC5-44F5-8C17-F2ED71EA2637}" srcOrd="0" destOrd="0" presId="urn:microsoft.com/office/officeart/2005/8/layout/list1"/>
    <dgm:cxn modelId="{D9E3F567-2735-4709-8ABD-245DE9FE1BCF}" type="presOf" srcId="{A97C7A39-EE00-45E5-9060-260457EDD187}" destId="{DC7BAD95-B9E5-42F9-B717-E02FBC387C8D}" srcOrd="1" destOrd="0" presId="urn:microsoft.com/office/officeart/2005/8/layout/list1"/>
    <dgm:cxn modelId="{5A86D68A-ED6C-46CB-980E-20512B74F196}" srcId="{A97C7A39-EE00-45E5-9060-260457EDD187}" destId="{C0BF708C-8AFB-4333-B44D-C646D2156ED1}" srcOrd="1" destOrd="0" parTransId="{8A7A0C4B-3733-4F7B-B1A4-5D071BA86028}" sibTransId="{54D52DFE-D622-41A0-AF04-7E1870339F76}"/>
    <dgm:cxn modelId="{BC2FAFE6-690E-43E0-A95A-9DC12C25FCD0}" type="presOf" srcId="{4ABF27A6-BB40-4B53-A3F2-2D457934F71D}" destId="{FA26F9D7-450E-4C76-ACD9-BE0F2EAAF090}" srcOrd="0" destOrd="0" presId="urn:microsoft.com/office/officeart/2005/8/layout/list1"/>
    <dgm:cxn modelId="{5DFC810B-A454-432F-A512-80B8E77B60BD}" type="presOf" srcId="{F96ACED9-4F65-408B-9795-07466138A090}" destId="{61C6C6F5-CF28-444F-91D3-9035A38985B6}" srcOrd="0" destOrd="0" presId="urn:microsoft.com/office/officeart/2005/8/layout/list1"/>
    <dgm:cxn modelId="{4746C2AF-9084-4705-9D46-C97FE95A5F96}" type="presOf" srcId="{B4911604-47A4-4F67-B035-15079CFA3F79}" destId="{8D1B2AED-9A79-43C1-B921-6BFF6DFEBD38}" srcOrd="0" destOrd="3" presId="urn:microsoft.com/office/officeart/2005/8/layout/list1"/>
    <dgm:cxn modelId="{E3073D58-F02B-4E64-865A-11BFE413218B}" type="presOf" srcId="{00CDF451-C7F1-4FF0-BCFA-BC6CE6F232F1}" destId="{4ECE28F7-B338-4C61-B064-22C38FA18B42}" srcOrd="0" destOrd="0" presId="urn:microsoft.com/office/officeart/2005/8/layout/list1"/>
    <dgm:cxn modelId="{A543B4A7-59D4-4A7D-8501-EB99D19A35D3}" type="presParOf" srcId="{6CD3E4B0-9D08-46C8-8E6C-A243BAB2DD32}" destId="{C3790E98-AFDA-4BF8-9438-C9755DD22987}" srcOrd="0" destOrd="0" presId="urn:microsoft.com/office/officeart/2005/8/layout/list1"/>
    <dgm:cxn modelId="{1364C577-7A5C-4507-9E04-03A9E1AAD7C3}" type="presParOf" srcId="{C3790E98-AFDA-4BF8-9438-C9755DD22987}" destId="{FA26F9D7-450E-4C76-ACD9-BE0F2EAAF090}" srcOrd="0" destOrd="0" presId="urn:microsoft.com/office/officeart/2005/8/layout/list1"/>
    <dgm:cxn modelId="{2A16E4AB-39C4-4679-8EA2-05AAB521B26D}" type="presParOf" srcId="{C3790E98-AFDA-4BF8-9438-C9755DD22987}" destId="{004B6CD2-7A12-4C0C-9F5E-D8DB8BD1681F}" srcOrd="1" destOrd="0" presId="urn:microsoft.com/office/officeart/2005/8/layout/list1"/>
    <dgm:cxn modelId="{EE718407-AE7B-48A3-AC68-5D0C41366556}" type="presParOf" srcId="{6CD3E4B0-9D08-46C8-8E6C-A243BAB2DD32}" destId="{78C490D3-56FF-4D52-956C-160A451FFCE7}" srcOrd="1" destOrd="0" presId="urn:microsoft.com/office/officeart/2005/8/layout/list1"/>
    <dgm:cxn modelId="{E66473C3-6D68-4FB5-9EF6-3D5BD874E8A4}" type="presParOf" srcId="{6CD3E4B0-9D08-46C8-8E6C-A243BAB2DD32}" destId="{4ECE28F7-B338-4C61-B064-22C38FA18B42}" srcOrd="2" destOrd="0" presId="urn:microsoft.com/office/officeart/2005/8/layout/list1"/>
    <dgm:cxn modelId="{303F380C-2141-4A96-B9C6-2736770BEC9A}" type="presParOf" srcId="{6CD3E4B0-9D08-46C8-8E6C-A243BAB2DD32}" destId="{D5C8A179-E6E4-4110-8C66-DF57FB227D19}" srcOrd="3" destOrd="0" presId="urn:microsoft.com/office/officeart/2005/8/layout/list1"/>
    <dgm:cxn modelId="{708C3E14-D082-4C00-9AF1-CB90C715C4A8}" type="presParOf" srcId="{6CD3E4B0-9D08-46C8-8E6C-A243BAB2DD32}" destId="{07DDA735-ABEB-4B49-8E6A-6C9AC9F16DEA}" srcOrd="4" destOrd="0" presId="urn:microsoft.com/office/officeart/2005/8/layout/list1"/>
    <dgm:cxn modelId="{ADF821F5-7416-40EA-BB56-978B71A2A082}" type="presParOf" srcId="{07DDA735-ABEB-4B49-8E6A-6C9AC9F16DEA}" destId="{25F2F251-72BA-4FFB-869A-211909FAB8E2}" srcOrd="0" destOrd="0" presId="urn:microsoft.com/office/officeart/2005/8/layout/list1"/>
    <dgm:cxn modelId="{9F80EB18-039D-47C0-9402-F221304E0556}" type="presParOf" srcId="{07DDA735-ABEB-4B49-8E6A-6C9AC9F16DEA}" destId="{DC7BAD95-B9E5-42F9-B717-E02FBC387C8D}" srcOrd="1" destOrd="0" presId="urn:microsoft.com/office/officeart/2005/8/layout/list1"/>
    <dgm:cxn modelId="{42A069F0-E9A4-4833-A078-FDAB7AE53D8E}" type="presParOf" srcId="{6CD3E4B0-9D08-46C8-8E6C-A243BAB2DD32}" destId="{31CF34D7-62D8-42EE-A87E-172BCA4B22B1}" srcOrd="5" destOrd="0" presId="urn:microsoft.com/office/officeart/2005/8/layout/list1"/>
    <dgm:cxn modelId="{753C86D0-2528-4B75-ADDC-5E3A6B4F6F9E}" type="presParOf" srcId="{6CD3E4B0-9D08-46C8-8E6C-A243BAB2DD32}" destId="{8D1B2AED-9A79-43C1-B921-6BFF6DFEBD38}" srcOrd="6" destOrd="0" presId="urn:microsoft.com/office/officeart/2005/8/layout/list1"/>
    <dgm:cxn modelId="{112A6453-5B7F-4E4A-BA33-8997FD7A982E}" type="presParOf" srcId="{6CD3E4B0-9D08-46C8-8E6C-A243BAB2DD32}" destId="{88435737-6FEA-440E-8C0C-5D0D3961C8A2}" srcOrd="7" destOrd="0" presId="urn:microsoft.com/office/officeart/2005/8/layout/list1"/>
    <dgm:cxn modelId="{7E4CE582-E600-43F3-96AF-8CED0EEA30F7}" type="presParOf" srcId="{6CD3E4B0-9D08-46C8-8E6C-A243BAB2DD32}" destId="{62EA632C-B773-49FC-99D8-CF4020AD4417}" srcOrd="8" destOrd="0" presId="urn:microsoft.com/office/officeart/2005/8/layout/list1"/>
    <dgm:cxn modelId="{3354196D-7DDD-4725-8891-657FB0537F88}" type="presParOf" srcId="{62EA632C-B773-49FC-99D8-CF4020AD4417}" destId="{0A5FC3DB-ADC5-44F5-8C17-F2ED71EA2637}" srcOrd="0" destOrd="0" presId="urn:microsoft.com/office/officeart/2005/8/layout/list1"/>
    <dgm:cxn modelId="{1CDB1F90-C22F-4C1D-AD39-D507C6CE1957}" type="presParOf" srcId="{62EA632C-B773-49FC-99D8-CF4020AD4417}" destId="{81361FA1-B880-4F7E-AD2B-ADF45D9FA494}" srcOrd="1" destOrd="0" presId="urn:microsoft.com/office/officeart/2005/8/layout/list1"/>
    <dgm:cxn modelId="{2768AAD3-C1BD-48B3-AD84-D4B5F322D966}" type="presParOf" srcId="{6CD3E4B0-9D08-46C8-8E6C-A243BAB2DD32}" destId="{DA3ECAE0-2292-4D79-83E3-1C681D52291B}" srcOrd="9" destOrd="0" presId="urn:microsoft.com/office/officeart/2005/8/layout/list1"/>
    <dgm:cxn modelId="{C5D1CF3A-FDA6-4AFA-BD01-5D9D91DDC262}" type="presParOf" srcId="{6CD3E4B0-9D08-46C8-8E6C-A243BAB2DD32}" destId="{D890D955-2929-4315-9A18-B8C6AA659BDE}" srcOrd="10" destOrd="0" presId="urn:microsoft.com/office/officeart/2005/8/layout/list1"/>
    <dgm:cxn modelId="{2CF36A1C-05CD-41D2-B6A8-95DDC99E4A2E}" type="presParOf" srcId="{6CD3E4B0-9D08-46C8-8E6C-A243BAB2DD32}" destId="{29178FFE-4767-4F25-99C3-27F3C0042DF5}" srcOrd="11" destOrd="0" presId="urn:microsoft.com/office/officeart/2005/8/layout/list1"/>
    <dgm:cxn modelId="{A90E0519-3623-4E42-9007-53C807B13B18}" type="presParOf" srcId="{6CD3E4B0-9D08-46C8-8E6C-A243BAB2DD32}" destId="{9926B93D-E74F-4C97-9210-8F67F5A424D3}" srcOrd="12" destOrd="0" presId="urn:microsoft.com/office/officeart/2005/8/layout/list1"/>
    <dgm:cxn modelId="{C6EF6EE8-7F5C-408E-AB74-E82669DEFF36}" type="presParOf" srcId="{9926B93D-E74F-4C97-9210-8F67F5A424D3}" destId="{61C6C6F5-CF28-444F-91D3-9035A38985B6}" srcOrd="0" destOrd="0" presId="urn:microsoft.com/office/officeart/2005/8/layout/list1"/>
    <dgm:cxn modelId="{ECD82F1F-A5FE-49FC-A860-1264B1E40B35}" type="presParOf" srcId="{9926B93D-E74F-4C97-9210-8F67F5A424D3}" destId="{D04304C5-9756-4317-9924-C641F600D992}" srcOrd="1" destOrd="0" presId="urn:microsoft.com/office/officeart/2005/8/layout/list1"/>
    <dgm:cxn modelId="{76742BA7-5881-48E6-84CD-A8465FD5918A}" type="presParOf" srcId="{6CD3E4B0-9D08-46C8-8E6C-A243BAB2DD32}" destId="{0C51414E-41C7-4501-B806-5A30C4459C27}" srcOrd="13" destOrd="0" presId="urn:microsoft.com/office/officeart/2005/8/layout/list1"/>
    <dgm:cxn modelId="{53B4A66E-CDCF-4B1A-8557-388D707491D5}" type="presParOf" srcId="{6CD3E4B0-9D08-46C8-8E6C-A243BAB2DD32}" destId="{678A4E80-C570-4841-BB34-4C224697764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36BCAB5-744B-4868-B860-6868F42E8185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619DB7C0-6B56-4479-B434-23AD9B610BE3}">
      <dgm:prSet phldrT="[Text]"/>
      <dgm:spPr/>
      <dgm:t>
        <a:bodyPr/>
        <a:lstStyle/>
        <a:p>
          <a:r>
            <a:rPr lang="en-US" altLang="zh-CN" dirty="0" smtClean="0"/>
            <a:t>Elastic-net with all the base variables</a:t>
          </a:r>
          <a:endParaRPr lang="zh-CN" altLang="en-US" dirty="0"/>
        </a:p>
      </dgm:t>
    </dgm:pt>
    <dgm:pt modelId="{70A31B5B-9628-401D-9DA6-175F6B1B7F5B}" type="parTrans" cxnId="{BEC4F5C4-7FBB-40E3-AA74-F8CE27E7270C}">
      <dgm:prSet/>
      <dgm:spPr/>
      <dgm:t>
        <a:bodyPr/>
        <a:lstStyle/>
        <a:p>
          <a:endParaRPr lang="zh-CN" altLang="en-US"/>
        </a:p>
      </dgm:t>
    </dgm:pt>
    <dgm:pt modelId="{E3BABFF7-12C5-4DE0-AFD7-146DCF49C46E}" type="sibTrans" cxnId="{BEC4F5C4-7FBB-40E3-AA74-F8CE27E7270C}">
      <dgm:prSet/>
      <dgm:spPr/>
      <dgm:t>
        <a:bodyPr/>
        <a:lstStyle/>
        <a:p>
          <a:endParaRPr lang="zh-CN" altLang="en-US"/>
        </a:p>
      </dgm:t>
    </dgm:pt>
    <dgm:pt modelId="{A4A6FC9C-566C-4A5C-AE06-BB89B50EB02C}">
      <dgm:prSet phldrT="[Text]"/>
      <dgm:spPr/>
      <dgm:t>
        <a:bodyPr/>
        <a:lstStyle/>
        <a:p>
          <a:r>
            <a:rPr lang="en-US" altLang="zh-CN" dirty="0" smtClean="0"/>
            <a:t>Elastic-net with the top 10 important variables</a:t>
          </a:r>
          <a:endParaRPr lang="zh-CN" altLang="en-US" dirty="0"/>
        </a:p>
      </dgm:t>
    </dgm:pt>
    <dgm:pt modelId="{8E744D09-09A7-4F99-BF29-562DC9D5A1C8}" type="parTrans" cxnId="{765B8D42-3049-4C8B-848D-F1E30417A551}">
      <dgm:prSet/>
      <dgm:spPr/>
      <dgm:t>
        <a:bodyPr/>
        <a:lstStyle/>
        <a:p>
          <a:endParaRPr lang="zh-CN" altLang="en-US"/>
        </a:p>
      </dgm:t>
    </dgm:pt>
    <dgm:pt modelId="{EC7FA99D-976D-4F68-B0E2-BA55095A521C}" type="sibTrans" cxnId="{765B8D42-3049-4C8B-848D-F1E30417A551}">
      <dgm:prSet/>
      <dgm:spPr/>
      <dgm:t>
        <a:bodyPr/>
        <a:lstStyle/>
        <a:p>
          <a:endParaRPr lang="zh-CN" altLang="en-US"/>
        </a:p>
      </dgm:t>
    </dgm:pt>
    <dgm:pt modelId="{BF872ECA-4C10-44E7-B1B9-20486D4A91CF}">
      <dgm:prSet phldrT="[Text]"/>
      <dgm:spPr/>
      <dgm:t>
        <a:bodyPr/>
        <a:lstStyle/>
        <a:p>
          <a:r>
            <a:rPr lang="en-US" altLang="zh-CN" dirty="0" smtClean="0"/>
            <a:t>Standard logistic regression with the top 10 important variables</a:t>
          </a:r>
          <a:endParaRPr lang="zh-CN" altLang="en-US" dirty="0"/>
        </a:p>
      </dgm:t>
    </dgm:pt>
    <dgm:pt modelId="{B4714288-CC74-49B5-8EE5-BDE4FE2EB705}" type="parTrans" cxnId="{64496E86-CCFD-486E-9044-92764ADDA524}">
      <dgm:prSet/>
      <dgm:spPr/>
      <dgm:t>
        <a:bodyPr/>
        <a:lstStyle/>
        <a:p>
          <a:endParaRPr lang="zh-CN" altLang="en-US"/>
        </a:p>
      </dgm:t>
    </dgm:pt>
    <dgm:pt modelId="{9D48156A-1729-4FF6-AAC9-2467AF9752B5}" type="sibTrans" cxnId="{64496E86-CCFD-486E-9044-92764ADDA524}">
      <dgm:prSet/>
      <dgm:spPr/>
      <dgm:t>
        <a:bodyPr/>
        <a:lstStyle/>
        <a:p>
          <a:endParaRPr lang="zh-CN" altLang="en-US"/>
        </a:p>
      </dgm:t>
    </dgm:pt>
    <dgm:pt modelId="{42AC54E1-AE52-4E40-B0C4-443C0CE6CA04}">
      <dgm:prSet/>
      <dgm:spPr/>
      <dgm:t>
        <a:bodyPr/>
        <a:lstStyle/>
        <a:p>
          <a:r>
            <a:rPr lang="en-US" altLang="zh-CN" dirty="0" smtClean="0"/>
            <a:t>Simple explanation about elastic-net</a:t>
          </a:r>
          <a:endParaRPr lang="zh-CN" altLang="en-US" dirty="0"/>
        </a:p>
      </dgm:t>
    </dgm:pt>
    <dgm:pt modelId="{118E26F4-28E6-46A6-8749-BC473A3926CF}" type="parTrans" cxnId="{05C36AB2-342C-425B-95E6-1C932C72BD45}">
      <dgm:prSet/>
      <dgm:spPr/>
      <dgm:t>
        <a:bodyPr/>
        <a:lstStyle/>
        <a:p>
          <a:endParaRPr lang="zh-CN" altLang="en-US"/>
        </a:p>
      </dgm:t>
    </dgm:pt>
    <dgm:pt modelId="{6337711F-4463-47E2-A122-A0446FB0674E}" type="sibTrans" cxnId="{05C36AB2-342C-425B-95E6-1C932C72BD45}">
      <dgm:prSet/>
      <dgm:spPr/>
      <dgm:t>
        <a:bodyPr/>
        <a:lstStyle/>
        <a:p>
          <a:endParaRPr lang="zh-CN" altLang="en-US"/>
        </a:p>
      </dgm:t>
    </dgm:pt>
    <dgm:pt modelId="{4CE339AB-0E81-45D9-BB17-89FE66CF6109}">
      <dgm:prSet/>
      <dgm:spPr/>
      <dgm:t>
        <a:bodyPr/>
        <a:lstStyle/>
        <a:p>
          <a:r>
            <a:rPr lang="en-US" altLang="zh-CN" dirty="0" smtClean="0"/>
            <a:t>ROC curve</a:t>
          </a:r>
          <a:endParaRPr lang="zh-CN" altLang="en-US" dirty="0"/>
        </a:p>
      </dgm:t>
    </dgm:pt>
    <dgm:pt modelId="{43AB33D3-E5EF-455B-933F-F3F95E014FC5}" type="parTrans" cxnId="{5D67875B-1C12-4F53-8462-F456198DAD8A}">
      <dgm:prSet/>
      <dgm:spPr/>
      <dgm:t>
        <a:bodyPr/>
        <a:lstStyle/>
        <a:p>
          <a:endParaRPr lang="zh-CN" altLang="en-US"/>
        </a:p>
      </dgm:t>
    </dgm:pt>
    <dgm:pt modelId="{8835EE47-9D44-4730-B8B8-0BF089CD59CA}" type="sibTrans" cxnId="{5D67875B-1C12-4F53-8462-F456198DAD8A}">
      <dgm:prSet/>
      <dgm:spPr/>
      <dgm:t>
        <a:bodyPr/>
        <a:lstStyle/>
        <a:p>
          <a:endParaRPr lang="zh-CN" altLang="en-US"/>
        </a:p>
      </dgm:t>
    </dgm:pt>
    <dgm:pt modelId="{2E2EF538-9AB1-4DEE-9ABF-38F847CDDFDF}">
      <dgm:prSet/>
      <dgm:spPr/>
      <dgm:t>
        <a:bodyPr/>
        <a:lstStyle/>
        <a:p>
          <a:r>
            <a:rPr lang="en-US" altLang="zh-CN" dirty="0" smtClean="0"/>
            <a:t>Coefficient of all the alpha in each evaluation folder</a:t>
          </a:r>
          <a:endParaRPr lang="zh-CN" altLang="en-US" dirty="0"/>
        </a:p>
      </dgm:t>
    </dgm:pt>
    <dgm:pt modelId="{B21B8672-4711-4709-81D7-E8985B688087}" type="parTrans" cxnId="{9DF9CE8C-DB62-4603-9EAA-BBC4DC8B3B85}">
      <dgm:prSet/>
      <dgm:spPr/>
      <dgm:t>
        <a:bodyPr/>
        <a:lstStyle/>
        <a:p>
          <a:endParaRPr lang="zh-CN" altLang="en-US"/>
        </a:p>
      </dgm:t>
    </dgm:pt>
    <dgm:pt modelId="{DA302D6F-8023-4645-A681-E208B1CE41D6}" type="sibTrans" cxnId="{9DF9CE8C-DB62-4603-9EAA-BBC4DC8B3B85}">
      <dgm:prSet/>
      <dgm:spPr/>
      <dgm:t>
        <a:bodyPr/>
        <a:lstStyle/>
        <a:p>
          <a:endParaRPr lang="zh-CN" altLang="en-US"/>
        </a:p>
      </dgm:t>
    </dgm:pt>
    <dgm:pt modelId="{6D85D29B-4B4E-4549-9FFF-43C1D309CD1E}">
      <dgm:prSet/>
      <dgm:spPr/>
      <dgm:t>
        <a:bodyPr/>
        <a:lstStyle/>
        <a:p>
          <a:r>
            <a:rPr lang="en-US" altLang="zh-CN" dirty="0" smtClean="0"/>
            <a:t>How to get the importance score of variables</a:t>
          </a:r>
          <a:endParaRPr lang="zh-CN" altLang="en-US" dirty="0"/>
        </a:p>
      </dgm:t>
    </dgm:pt>
    <dgm:pt modelId="{65B61F4F-02BA-4B6D-8413-DAC667B10C52}" type="parTrans" cxnId="{6C8787D3-42B1-4ABA-B692-DBCC7BB6E6DD}">
      <dgm:prSet/>
      <dgm:spPr/>
      <dgm:t>
        <a:bodyPr/>
        <a:lstStyle/>
        <a:p>
          <a:endParaRPr lang="zh-CN" altLang="en-US"/>
        </a:p>
      </dgm:t>
    </dgm:pt>
    <dgm:pt modelId="{3721CD8A-B532-4F44-8C60-0C79C8B8F8A4}" type="sibTrans" cxnId="{6C8787D3-42B1-4ABA-B692-DBCC7BB6E6DD}">
      <dgm:prSet/>
      <dgm:spPr/>
      <dgm:t>
        <a:bodyPr/>
        <a:lstStyle/>
        <a:p>
          <a:endParaRPr lang="zh-CN" altLang="en-US"/>
        </a:p>
      </dgm:t>
    </dgm:pt>
    <dgm:pt modelId="{CCD88353-D00A-4934-AA2A-BA5E5A3BB280}">
      <dgm:prSet/>
      <dgm:spPr/>
      <dgm:t>
        <a:bodyPr/>
        <a:lstStyle/>
        <a:p>
          <a:r>
            <a:rPr lang="en-US" altLang="zh-CN" dirty="0" smtClean="0"/>
            <a:t>Get the covariate rank according to the absolute coefficient in each alpha of each folder</a:t>
          </a:r>
          <a:endParaRPr lang="zh-CN" altLang="en-US" dirty="0"/>
        </a:p>
      </dgm:t>
    </dgm:pt>
    <dgm:pt modelId="{EFEE34A3-BDBF-475A-B55A-C81192D733CF}" type="parTrans" cxnId="{CE6E8888-57E0-49A0-BA97-E4A4BF07F87B}">
      <dgm:prSet/>
      <dgm:spPr/>
      <dgm:t>
        <a:bodyPr/>
        <a:lstStyle/>
        <a:p>
          <a:endParaRPr lang="zh-CN" altLang="en-US"/>
        </a:p>
      </dgm:t>
    </dgm:pt>
    <dgm:pt modelId="{0563B18A-B347-4F12-9308-7621D33572AB}" type="sibTrans" cxnId="{CE6E8888-57E0-49A0-BA97-E4A4BF07F87B}">
      <dgm:prSet/>
      <dgm:spPr/>
      <dgm:t>
        <a:bodyPr/>
        <a:lstStyle/>
        <a:p>
          <a:endParaRPr lang="zh-CN" altLang="en-US"/>
        </a:p>
      </dgm:t>
    </dgm:pt>
    <dgm:pt modelId="{594DE2D1-EAD3-4D4E-8B17-DFBF5770ECCE}">
      <dgm:prSet/>
      <dgm:spPr/>
      <dgm:t>
        <a:bodyPr/>
        <a:lstStyle/>
        <a:p>
          <a:r>
            <a:rPr lang="en-US" altLang="zh-CN" dirty="0" smtClean="0"/>
            <a:t>Average all the rank in all alphas of all folders</a:t>
          </a:r>
          <a:endParaRPr lang="zh-CN" altLang="en-US" dirty="0"/>
        </a:p>
      </dgm:t>
    </dgm:pt>
    <dgm:pt modelId="{682B1974-74F3-44C8-AF5C-1A6FBDD7B1D7}" type="parTrans" cxnId="{98830B4B-260E-4D35-9DF0-30BE525F243F}">
      <dgm:prSet/>
      <dgm:spPr/>
      <dgm:t>
        <a:bodyPr/>
        <a:lstStyle/>
        <a:p>
          <a:endParaRPr lang="zh-CN" altLang="en-US"/>
        </a:p>
      </dgm:t>
    </dgm:pt>
    <dgm:pt modelId="{2DABDAC7-A470-4D12-92F9-4D5B6C337EF9}" type="sibTrans" cxnId="{98830B4B-260E-4D35-9DF0-30BE525F243F}">
      <dgm:prSet/>
      <dgm:spPr/>
      <dgm:t>
        <a:bodyPr/>
        <a:lstStyle/>
        <a:p>
          <a:endParaRPr lang="zh-CN" altLang="en-US"/>
        </a:p>
      </dgm:t>
    </dgm:pt>
    <dgm:pt modelId="{771F6B3B-34DB-41D8-AAB9-0276F9FE063E}">
      <dgm:prSet/>
      <dgm:spPr/>
      <dgm:t>
        <a:bodyPr/>
        <a:lstStyle/>
        <a:p>
          <a:r>
            <a:rPr lang="en-US" altLang="zh-CN" dirty="0" smtClean="0"/>
            <a:t>ROC curve</a:t>
          </a:r>
          <a:endParaRPr lang="zh-CN" altLang="en-US" dirty="0"/>
        </a:p>
      </dgm:t>
    </dgm:pt>
    <dgm:pt modelId="{B7980DE6-5878-45C4-B3D8-D5A6FD82210D}" type="parTrans" cxnId="{9452F99A-4865-4A6F-AAC3-4D50FF243D81}">
      <dgm:prSet/>
      <dgm:spPr/>
      <dgm:t>
        <a:bodyPr/>
        <a:lstStyle/>
        <a:p>
          <a:endParaRPr lang="zh-CN" altLang="en-US"/>
        </a:p>
      </dgm:t>
    </dgm:pt>
    <dgm:pt modelId="{32EF0DEC-F128-4D7B-B348-E670378CE2F0}" type="sibTrans" cxnId="{9452F99A-4865-4A6F-AAC3-4D50FF243D81}">
      <dgm:prSet/>
      <dgm:spPr/>
      <dgm:t>
        <a:bodyPr/>
        <a:lstStyle/>
        <a:p>
          <a:endParaRPr lang="zh-CN" altLang="en-US"/>
        </a:p>
      </dgm:t>
    </dgm:pt>
    <dgm:pt modelId="{061CFCF6-4F5E-41CB-8101-6AA5EBEBC059}">
      <dgm:prSet/>
      <dgm:spPr/>
      <dgm:t>
        <a:bodyPr/>
        <a:lstStyle/>
        <a:p>
          <a:r>
            <a:rPr lang="en-US" altLang="zh-CN" dirty="0" smtClean="0"/>
            <a:t>Coefficient estimate and CI</a:t>
          </a:r>
          <a:endParaRPr lang="zh-CN" altLang="en-US" dirty="0"/>
        </a:p>
      </dgm:t>
    </dgm:pt>
    <dgm:pt modelId="{96C12A85-A03E-4944-A935-A90A403B2212}" type="parTrans" cxnId="{8E5164EE-2E4F-4751-85DB-5AADC59540EE}">
      <dgm:prSet/>
      <dgm:spPr/>
      <dgm:t>
        <a:bodyPr/>
        <a:lstStyle/>
        <a:p>
          <a:endParaRPr lang="zh-CN" altLang="en-US"/>
        </a:p>
      </dgm:t>
    </dgm:pt>
    <dgm:pt modelId="{1C6A110D-A95D-4D92-B8A7-119BE6EA303F}" type="sibTrans" cxnId="{8E5164EE-2E4F-4751-85DB-5AADC59540EE}">
      <dgm:prSet/>
      <dgm:spPr/>
      <dgm:t>
        <a:bodyPr/>
        <a:lstStyle/>
        <a:p>
          <a:endParaRPr lang="zh-CN" altLang="en-US"/>
        </a:p>
      </dgm:t>
    </dgm:pt>
    <dgm:pt modelId="{1377CAE0-711F-4DB6-9848-3248F587E79D}" type="pres">
      <dgm:prSet presAssocID="{136BCAB5-744B-4868-B860-6868F42E818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B1352709-A927-484A-B1BC-CBC037BFFB09}" type="pres">
      <dgm:prSet presAssocID="{619DB7C0-6B56-4479-B434-23AD9B610BE3}" presName="parentLin" presStyleCnt="0"/>
      <dgm:spPr/>
    </dgm:pt>
    <dgm:pt modelId="{C6EF968E-AD02-43B5-A7C8-8A9F0506B423}" type="pres">
      <dgm:prSet presAssocID="{619DB7C0-6B56-4479-B434-23AD9B610BE3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0ED49763-B885-4D2A-8819-90ED1E0F2669}" type="pres">
      <dgm:prSet presAssocID="{619DB7C0-6B56-4479-B434-23AD9B610BE3}" presName="parentText" presStyleLbl="node1" presStyleIdx="0" presStyleCnt="3" custScaleX="100143" custScaleY="11221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0180C50-6951-43F8-8AF0-62B971AFFF9A}" type="pres">
      <dgm:prSet presAssocID="{619DB7C0-6B56-4479-B434-23AD9B610BE3}" presName="negativeSpace" presStyleCnt="0"/>
      <dgm:spPr/>
    </dgm:pt>
    <dgm:pt modelId="{0D7FF637-2051-4CEA-A3D9-453148B72C2A}" type="pres">
      <dgm:prSet presAssocID="{619DB7C0-6B56-4479-B434-23AD9B610BE3}" presName="childText" presStyleLbl="conFgAcc1" presStyleIdx="0" presStyleCnt="3" custLinFactNeighborY="-1529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4156EFC-4A8A-4AE2-8DCA-CC3F8AB4A4F0}" type="pres">
      <dgm:prSet presAssocID="{E3BABFF7-12C5-4DE0-AFD7-146DCF49C46E}" presName="spaceBetweenRectangles" presStyleCnt="0"/>
      <dgm:spPr/>
    </dgm:pt>
    <dgm:pt modelId="{61F66577-6739-4482-8676-DAE09C11D21F}" type="pres">
      <dgm:prSet presAssocID="{A4A6FC9C-566C-4A5C-AE06-BB89B50EB02C}" presName="parentLin" presStyleCnt="0"/>
      <dgm:spPr/>
    </dgm:pt>
    <dgm:pt modelId="{8147CC44-4645-4D87-A9CB-154DB43A4C46}" type="pres">
      <dgm:prSet presAssocID="{A4A6FC9C-566C-4A5C-AE06-BB89B50EB02C}" presName="parentLeftMargin" presStyleLbl="node1" presStyleIdx="0" presStyleCnt="3"/>
      <dgm:spPr/>
      <dgm:t>
        <a:bodyPr/>
        <a:lstStyle/>
        <a:p>
          <a:endParaRPr lang="zh-CN" altLang="en-US"/>
        </a:p>
      </dgm:t>
    </dgm:pt>
    <dgm:pt modelId="{C84902B8-B23B-4298-A2A0-C294A53E7FE7}" type="pres">
      <dgm:prSet presAssocID="{A4A6FC9C-566C-4A5C-AE06-BB89B50EB02C}" presName="parentText" presStyleLbl="node1" presStyleIdx="1" presStyleCnt="3" custScaleX="122429" custScaleY="11510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B63AC39-73BB-43DC-86B1-68E2F7B5EB8A}" type="pres">
      <dgm:prSet presAssocID="{A4A6FC9C-566C-4A5C-AE06-BB89B50EB02C}" presName="negativeSpace" presStyleCnt="0"/>
      <dgm:spPr/>
    </dgm:pt>
    <dgm:pt modelId="{32FAF41E-692B-4A30-87CD-83F7B6660CF3}" type="pres">
      <dgm:prSet presAssocID="{A4A6FC9C-566C-4A5C-AE06-BB89B50EB02C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14DBAE-2CFA-4470-A03E-59FD7A38BBCC}" type="pres">
      <dgm:prSet presAssocID="{EC7FA99D-976D-4F68-B0E2-BA55095A521C}" presName="spaceBetweenRectangles" presStyleCnt="0"/>
      <dgm:spPr/>
    </dgm:pt>
    <dgm:pt modelId="{77D82C5C-4219-49AE-B200-F4D0EECCC654}" type="pres">
      <dgm:prSet presAssocID="{BF872ECA-4C10-44E7-B1B9-20486D4A91CF}" presName="parentLin" presStyleCnt="0"/>
      <dgm:spPr/>
    </dgm:pt>
    <dgm:pt modelId="{622EADE3-8A36-462C-BF72-96427673EDCA}" type="pres">
      <dgm:prSet presAssocID="{BF872ECA-4C10-44E7-B1B9-20486D4A91CF}" presName="parentLeftMargin" presStyleLbl="node1" presStyleIdx="1" presStyleCnt="3"/>
      <dgm:spPr/>
      <dgm:t>
        <a:bodyPr/>
        <a:lstStyle/>
        <a:p>
          <a:endParaRPr lang="zh-CN" altLang="en-US"/>
        </a:p>
      </dgm:t>
    </dgm:pt>
    <dgm:pt modelId="{4F40F7C5-D85E-48F9-976C-51E01CD85B5D}" type="pres">
      <dgm:prSet presAssocID="{BF872ECA-4C10-44E7-B1B9-20486D4A91CF}" presName="parentText" presStyleLbl="node1" presStyleIdx="2" presStyleCnt="3" custScaleX="134857" custScaleY="10023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088047C-6E3C-4FB6-8675-323234950413}" type="pres">
      <dgm:prSet presAssocID="{BF872ECA-4C10-44E7-B1B9-20486D4A91CF}" presName="negativeSpace" presStyleCnt="0"/>
      <dgm:spPr/>
    </dgm:pt>
    <dgm:pt modelId="{B36D0650-41A8-4AAF-9E57-CB06F087B0EF}" type="pres">
      <dgm:prSet presAssocID="{BF872ECA-4C10-44E7-B1B9-20486D4A91CF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5C36AB2-342C-425B-95E6-1C932C72BD45}" srcId="{619DB7C0-6B56-4479-B434-23AD9B610BE3}" destId="{42AC54E1-AE52-4E40-B0C4-443C0CE6CA04}" srcOrd="0" destOrd="0" parTransId="{118E26F4-28E6-46A6-8749-BC473A3926CF}" sibTransId="{6337711F-4463-47E2-A122-A0446FB0674E}"/>
    <dgm:cxn modelId="{E5C47111-E1E6-4957-875B-B2F70AE75118}" type="presOf" srcId="{594DE2D1-EAD3-4D4E-8B17-DFBF5770ECCE}" destId="{32FAF41E-692B-4A30-87CD-83F7B6660CF3}" srcOrd="0" destOrd="2" presId="urn:microsoft.com/office/officeart/2005/8/layout/list1"/>
    <dgm:cxn modelId="{77EA8E8A-9310-4FA5-8F53-AE48E265DA06}" type="presOf" srcId="{4CE339AB-0E81-45D9-BB17-89FE66CF6109}" destId="{0D7FF637-2051-4CEA-A3D9-453148B72C2A}" srcOrd="0" destOrd="1" presId="urn:microsoft.com/office/officeart/2005/8/layout/list1"/>
    <dgm:cxn modelId="{1896E8C3-1639-4EEC-85AB-D242F979A936}" type="presOf" srcId="{619DB7C0-6B56-4479-B434-23AD9B610BE3}" destId="{0ED49763-B885-4D2A-8819-90ED1E0F2669}" srcOrd="1" destOrd="0" presId="urn:microsoft.com/office/officeart/2005/8/layout/list1"/>
    <dgm:cxn modelId="{716750DB-A166-4A46-8862-4B240BBC2BD4}" type="presOf" srcId="{619DB7C0-6B56-4479-B434-23AD9B610BE3}" destId="{C6EF968E-AD02-43B5-A7C8-8A9F0506B423}" srcOrd="0" destOrd="0" presId="urn:microsoft.com/office/officeart/2005/8/layout/list1"/>
    <dgm:cxn modelId="{CE6E8888-57E0-49A0-BA97-E4A4BF07F87B}" srcId="{A4A6FC9C-566C-4A5C-AE06-BB89B50EB02C}" destId="{CCD88353-D00A-4934-AA2A-BA5E5A3BB280}" srcOrd="1" destOrd="0" parTransId="{EFEE34A3-BDBF-475A-B55A-C81192D733CF}" sibTransId="{0563B18A-B347-4F12-9308-7621D33572AB}"/>
    <dgm:cxn modelId="{76EE041D-A77A-4C21-8283-C093DC0446D6}" type="presOf" srcId="{771F6B3B-34DB-41D8-AAB9-0276F9FE063E}" destId="{B36D0650-41A8-4AAF-9E57-CB06F087B0EF}" srcOrd="0" destOrd="0" presId="urn:microsoft.com/office/officeart/2005/8/layout/list1"/>
    <dgm:cxn modelId="{64496E86-CCFD-486E-9044-92764ADDA524}" srcId="{136BCAB5-744B-4868-B860-6868F42E8185}" destId="{BF872ECA-4C10-44E7-B1B9-20486D4A91CF}" srcOrd="2" destOrd="0" parTransId="{B4714288-CC74-49B5-8EE5-BDE4FE2EB705}" sibTransId="{9D48156A-1729-4FF6-AAC9-2467AF9752B5}"/>
    <dgm:cxn modelId="{8E5164EE-2E4F-4751-85DB-5AADC59540EE}" srcId="{BF872ECA-4C10-44E7-B1B9-20486D4A91CF}" destId="{061CFCF6-4F5E-41CB-8101-6AA5EBEBC059}" srcOrd="1" destOrd="0" parTransId="{96C12A85-A03E-4944-A935-A90A403B2212}" sibTransId="{1C6A110D-A95D-4D92-B8A7-119BE6EA303F}"/>
    <dgm:cxn modelId="{9452F99A-4865-4A6F-AAC3-4D50FF243D81}" srcId="{BF872ECA-4C10-44E7-B1B9-20486D4A91CF}" destId="{771F6B3B-34DB-41D8-AAB9-0276F9FE063E}" srcOrd="0" destOrd="0" parTransId="{B7980DE6-5878-45C4-B3D8-D5A6FD82210D}" sibTransId="{32EF0DEC-F128-4D7B-B348-E670378CE2F0}"/>
    <dgm:cxn modelId="{5D67875B-1C12-4F53-8462-F456198DAD8A}" srcId="{619DB7C0-6B56-4479-B434-23AD9B610BE3}" destId="{4CE339AB-0E81-45D9-BB17-89FE66CF6109}" srcOrd="1" destOrd="0" parTransId="{43AB33D3-E5EF-455B-933F-F3F95E014FC5}" sibTransId="{8835EE47-9D44-4730-B8B8-0BF089CD59CA}"/>
    <dgm:cxn modelId="{1C45A221-92F3-4EAC-8358-22953DC2FAF0}" type="presOf" srcId="{42AC54E1-AE52-4E40-B0C4-443C0CE6CA04}" destId="{0D7FF637-2051-4CEA-A3D9-453148B72C2A}" srcOrd="0" destOrd="0" presId="urn:microsoft.com/office/officeart/2005/8/layout/list1"/>
    <dgm:cxn modelId="{98830B4B-260E-4D35-9DF0-30BE525F243F}" srcId="{A4A6FC9C-566C-4A5C-AE06-BB89B50EB02C}" destId="{594DE2D1-EAD3-4D4E-8B17-DFBF5770ECCE}" srcOrd="2" destOrd="0" parTransId="{682B1974-74F3-44C8-AF5C-1A6FBDD7B1D7}" sibTransId="{2DABDAC7-A470-4D12-92F9-4D5B6C337EF9}"/>
    <dgm:cxn modelId="{24386E03-7E95-4E25-A634-C57FA84F19D6}" type="presOf" srcId="{BF872ECA-4C10-44E7-B1B9-20486D4A91CF}" destId="{4F40F7C5-D85E-48F9-976C-51E01CD85B5D}" srcOrd="1" destOrd="0" presId="urn:microsoft.com/office/officeart/2005/8/layout/list1"/>
    <dgm:cxn modelId="{A9321F6D-5B37-4AF9-A490-96F21AA5ABB8}" type="presOf" srcId="{061CFCF6-4F5E-41CB-8101-6AA5EBEBC059}" destId="{B36D0650-41A8-4AAF-9E57-CB06F087B0EF}" srcOrd="0" destOrd="1" presId="urn:microsoft.com/office/officeart/2005/8/layout/list1"/>
    <dgm:cxn modelId="{464E27AA-D5C5-40BB-BA00-6EF04BFB10A0}" type="presOf" srcId="{CCD88353-D00A-4934-AA2A-BA5E5A3BB280}" destId="{32FAF41E-692B-4A30-87CD-83F7B6660CF3}" srcOrd="0" destOrd="1" presId="urn:microsoft.com/office/officeart/2005/8/layout/list1"/>
    <dgm:cxn modelId="{9DF9CE8C-DB62-4603-9EAA-BBC4DC8B3B85}" srcId="{619DB7C0-6B56-4479-B434-23AD9B610BE3}" destId="{2E2EF538-9AB1-4DEE-9ABF-38F847CDDFDF}" srcOrd="2" destOrd="0" parTransId="{B21B8672-4711-4709-81D7-E8985B688087}" sibTransId="{DA302D6F-8023-4645-A681-E208B1CE41D6}"/>
    <dgm:cxn modelId="{D90C4851-192E-4FD9-9F28-55C4CA115C41}" type="presOf" srcId="{A4A6FC9C-566C-4A5C-AE06-BB89B50EB02C}" destId="{8147CC44-4645-4D87-A9CB-154DB43A4C46}" srcOrd="0" destOrd="0" presId="urn:microsoft.com/office/officeart/2005/8/layout/list1"/>
    <dgm:cxn modelId="{FE1C0112-4B42-4A4D-A4A1-078EA5CE4DD0}" type="presOf" srcId="{A4A6FC9C-566C-4A5C-AE06-BB89B50EB02C}" destId="{C84902B8-B23B-4298-A2A0-C294A53E7FE7}" srcOrd="1" destOrd="0" presId="urn:microsoft.com/office/officeart/2005/8/layout/list1"/>
    <dgm:cxn modelId="{765B8D42-3049-4C8B-848D-F1E30417A551}" srcId="{136BCAB5-744B-4868-B860-6868F42E8185}" destId="{A4A6FC9C-566C-4A5C-AE06-BB89B50EB02C}" srcOrd="1" destOrd="0" parTransId="{8E744D09-09A7-4F99-BF29-562DC9D5A1C8}" sibTransId="{EC7FA99D-976D-4F68-B0E2-BA55095A521C}"/>
    <dgm:cxn modelId="{49CC08F6-EF6D-473A-B12A-4D772D670358}" type="presOf" srcId="{2E2EF538-9AB1-4DEE-9ABF-38F847CDDFDF}" destId="{0D7FF637-2051-4CEA-A3D9-453148B72C2A}" srcOrd="0" destOrd="2" presId="urn:microsoft.com/office/officeart/2005/8/layout/list1"/>
    <dgm:cxn modelId="{21B77668-3322-426C-8D6E-56AAF0924BDB}" type="presOf" srcId="{BF872ECA-4C10-44E7-B1B9-20486D4A91CF}" destId="{622EADE3-8A36-462C-BF72-96427673EDCA}" srcOrd="0" destOrd="0" presId="urn:microsoft.com/office/officeart/2005/8/layout/list1"/>
    <dgm:cxn modelId="{BEC4F5C4-7FBB-40E3-AA74-F8CE27E7270C}" srcId="{136BCAB5-744B-4868-B860-6868F42E8185}" destId="{619DB7C0-6B56-4479-B434-23AD9B610BE3}" srcOrd="0" destOrd="0" parTransId="{70A31B5B-9628-401D-9DA6-175F6B1B7F5B}" sibTransId="{E3BABFF7-12C5-4DE0-AFD7-146DCF49C46E}"/>
    <dgm:cxn modelId="{6C8787D3-42B1-4ABA-B692-DBCC7BB6E6DD}" srcId="{A4A6FC9C-566C-4A5C-AE06-BB89B50EB02C}" destId="{6D85D29B-4B4E-4549-9FFF-43C1D309CD1E}" srcOrd="0" destOrd="0" parTransId="{65B61F4F-02BA-4B6D-8413-DAC667B10C52}" sibTransId="{3721CD8A-B532-4F44-8C60-0C79C8B8F8A4}"/>
    <dgm:cxn modelId="{43883977-6DD5-477B-A656-A93CB148FE5B}" type="presOf" srcId="{136BCAB5-744B-4868-B860-6868F42E8185}" destId="{1377CAE0-711F-4DB6-9848-3248F587E79D}" srcOrd="0" destOrd="0" presId="urn:microsoft.com/office/officeart/2005/8/layout/list1"/>
    <dgm:cxn modelId="{5208278F-128F-4B16-A0A6-C617312F44C5}" type="presOf" srcId="{6D85D29B-4B4E-4549-9FFF-43C1D309CD1E}" destId="{32FAF41E-692B-4A30-87CD-83F7B6660CF3}" srcOrd="0" destOrd="0" presId="urn:microsoft.com/office/officeart/2005/8/layout/list1"/>
    <dgm:cxn modelId="{46553A62-9BE0-4629-9A93-8A542F5372A3}" type="presParOf" srcId="{1377CAE0-711F-4DB6-9848-3248F587E79D}" destId="{B1352709-A927-484A-B1BC-CBC037BFFB09}" srcOrd="0" destOrd="0" presId="urn:microsoft.com/office/officeart/2005/8/layout/list1"/>
    <dgm:cxn modelId="{D508E8C1-ED2F-4472-8E73-78D305A8AB57}" type="presParOf" srcId="{B1352709-A927-484A-B1BC-CBC037BFFB09}" destId="{C6EF968E-AD02-43B5-A7C8-8A9F0506B423}" srcOrd="0" destOrd="0" presId="urn:microsoft.com/office/officeart/2005/8/layout/list1"/>
    <dgm:cxn modelId="{EDDBE072-5EAA-44E0-A555-333EDC30E3C3}" type="presParOf" srcId="{B1352709-A927-484A-B1BC-CBC037BFFB09}" destId="{0ED49763-B885-4D2A-8819-90ED1E0F2669}" srcOrd="1" destOrd="0" presId="urn:microsoft.com/office/officeart/2005/8/layout/list1"/>
    <dgm:cxn modelId="{04405362-04FC-453A-B985-8E740375FB97}" type="presParOf" srcId="{1377CAE0-711F-4DB6-9848-3248F587E79D}" destId="{20180C50-6951-43F8-8AF0-62B971AFFF9A}" srcOrd="1" destOrd="0" presId="urn:microsoft.com/office/officeart/2005/8/layout/list1"/>
    <dgm:cxn modelId="{6D3F0919-1743-40A2-A8B1-BA8531875E5E}" type="presParOf" srcId="{1377CAE0-711F-4DB6-9848-3248F587E79D}" destId="{0D7FF637-2051-4CEA-A3D9-453148B72C2A}" srcOrd="2" destOrd="0" presId="urn:microsoft.com/office/officeart/2005/8/layout/list1"/>
    <dgm:cxn modelId="{9524E7B8-2E15-4991-9510-A0AA8FFF0E18}" type="presParOf" srcId="{1377CAE0-711F-4DB6-9848-3248F587E79D}" destId="{F4156EFC-4A8A-4AE2-8DCA-CC3F8AB4A4F0}" srcOrd="3" destOrd="0" presId="urn:microsoft.com/office/officeart/2005/8/layout/list1"/>
    <dgm:cxn modelId="{6EC8A739-A232-4105-ACE4-3320169C32ED}" type="presParOf" srcId="{1377CAE0-711F-4DB6-9848-3248F587E79D}" destId="{61F66577-6739-4482-8676-DAE09C11D21F}" srcOrd="4" destOrd="0" presId="urn:microsoft.com/office/officeart/2005/8/layout/list1"/>
    <dgm:cxn modelId="{4A3D762C-6086-41CF-9A98-1740B56AFCA9}" type="presParOf" srcId="{61F66577-6739-4482-8676-DAE09C11D21F}" destId="{8147CC44-4645-4D87-A9CB-154DB43A4C46}" srcOrd="0" destOrd="0" presId="urn:microsoft.com/office/officeart/2005/8/layout/list1"/>
    <dgm:cxn modelId="{4C81D21A-61EF-42F3-B8AA-D945FFBB896F}" type="presParOf" srcId="{61F66577-6739-4482-8676-DAE09C11D21F}" destId="{C84902B8-B23B-4298-A2A0-C294A53E7FE7}" srcOrd="1" destOrd="0" presId="urn:microsoft.com/office/officeart/2005/8/layout/list1"/>
    <dgm:cxn modelId="{D0A0D4FC-2BC4-43B2-AC1F-84733BA712DD}" type="presParOf" srcId="{1377CAE0-711F-4DB6-9848-3248F587E79D}" destId="{AB63AC39-73BB-43DC-86B1-68E2F7B5EB8A}" srcOrd="5" destOrd="0" presId="urn:microsoft.com/office/officeart/2005/8/layout/list1"/>
    <dgm:cxn modelId="{2921FB68-20E8-4326-9B94-8E8D022546F2}" type="presParOf" srcId="{1377CAE0-711F-4DB6-9848-3248F587E79D}" destId="{32FAF41E-692B-4A30-87CD-83F7B6660CF3}" srcOrd="6" destOrd="0" presId="urn:microsoft.com/office/officeart/2005/8/layout/list1"/>
    <dgm:cxn modelId="{88FF52C3-55B0-4E39-AE50-29DE2C3BC7D7}" type="presParOf" srcId="{1377CAE0-711F-4DB6-9848-3248F587E79D}" destId="{B114DBAE-2CFA-4470-A03E-59FD7A38BBCC}" srcOrd="7" destOrd="0" presId="urn:microsoft.com/office/officeart/2005/8/layout/list1"/>
    <dgm:cxn modelId="{45C049A3-9957-43AC-8005-127C868FE5B9}" type="presParOf" srcId="{1377CAE0-711F-4DB6-9848-3248F587E79D}" destId="{77D82C5C-4219-49AE-B200-F4D0EECCC654}" srcOrd="8" destOrd="0" presId="urn:microsoft.com/office/officeart/2005/8/layout/list1"/>
    <dgm:cxn modelId="{2142C869-56C0-4A1A-8311-64ADD3F76067}" type="presParOf" srcId="{77D82C5C-4219-49AE-B200-F4D0EECCC654}" destId="{622EADE3-8A36-462C-BF72-96427673EDCA}" srcOrd="0" destOrd="0" presId="urn:microsoft.com/office/officeart/2005/8/layout/list1"/>
    <dgm:cxn modelId="{275ECF72-E651-40E8-AFDD-13EC27E58591}" type="presParOf" srcId="{77D82C5C-4219-49AE-B200-F4D0EECCC654}" destId="{4F40F7C5-D85E-48F9-976C-51E01CD85B5D}" srcOrd="1" destOrd="0" presId="urn:microsoft.com/office/officeart/2005/8/layout/list1"/>
    <dgm:cxn modelId="{5E6C28FF-F94D-429D-A802-B9053A725862}" type="presParOf" srcId="{1377CAE0-711F-4DB6-9848-3248F587E79D}" destId="{0088047C-6E3C-4FB6-8675-323234950413}" srcOrd="9" destOrd="0" presId="urn:microsoft.com/office/officeart/2005/8/layout/list1"/>
    <dgm:cxn modelId="{138055F0-A803-4455-861F-5FAA6054D5E6}" type="presParOf" srcId="{1377CAE0-711F-4DB6-9848-3248F587E79D}" destId="{B36D0650-41A8-4AAF-9E57-CB06F087B0EF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24424F-2292-4730-A211-6C7998465EA0}">
      <dsp:nvSpPr>
        <dsp:cNvPr id="0" name=""/>
        <dsp:cNvSpPr/>
      </dsp:nvSpPr>
      <dsp:spPr>
        <a:xfrm>
          <a:off x="0" y="301949"/>
          <a:ext cx="6236689" cy="941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4036" tIns="270764" rIns="48403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Split HAE 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xtract the corresponding non-HAE in each simulation using matching relationship</a:t>
          </a:r>
          <a:endParaRPr lang="zh-CN" altLang="en-US" sz="1300" kern="1200" dirty="0"/>
        </a:p>
      </dsp:txBody>
      <dsp:txXfrm>
        <a:off x="0" y="301949"/>
        <a:ext cx="6236689" cy="941850"/>
      </dsp:txXfrm>
    </dsp:sp>
    <dsp:sp modelId="{0F2B9E7E-BEC6-4406-8F75-00AF4A0BA79F}">
      <dsp:nvSpPr>
        <dsp:cNvPr id="0" name=""/>
        <dsp:cNvSpPr/>
      </dsp:nvSpPr>
      <dsp:spPr>
        <a:xfrm>
          <a:off x="311834" y="110069"/>
          <a:ext cx="4365682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012" tIns="0" rIns="165012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Split HAE and non-HAE into 5 simulations</a:t>
          </a:r>
          <a:endParaRPr lang="zh-CN" altLang="en-US" sz="1300" kern="1200" dirty="0"/>
        </a:p>
      </dsp:txBody>
      <dsp:txXfrm>
        <a:off x="330568" y="128803"/>
        <a:ext cx="4328214" cy="346292"/>
      </dsp:txXfrm>
    </dsp:sp>
    <dsp:sp modelId="{40688125-3DD6-41E9-9D51-95EFFBFDDCE4}">
      <dsp:nvSpPr>
        <dsp:cNvPr id="0" name=""/>
        <dsp:cNvSpPr/>
      </dsp:nvSpPr>
      <dsp:spPr>
        <a:xfrm>
          <a:off x="0" y="1505880"/>
          <a:ext cx="6236689" cy="1392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4036" tIns="270764" rIns="48403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For the training data, split the non-HAE into N part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for N=10 the </a:t>
          </a:r>
          <a:r>
            <a:rPr lang="en-US" altLang="zh-CN" sz="1300" kern="1200" dirty="0" err="1" smtClean="0"/>
            <a:t>HAE:nonHAE</a:t>
          </a:r>
          <a:r>
            <a:rPr lang="en-US" altLang="zh-CN" sz="1300" kern="1200" dirty="0" smtClean="0"/>
            <a:t> in each part is 1:20(200/10)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Combining each part of </a:t>
          </a:r>
          <a:r>
            <a:rPr lang="en-GB" altLang="zh-CN" sz="1300" kern="1200" dirty="0" err="1" smtClean="0"/>
            <a:t>nonHAE</a:t>
          </a:r>
          <a:r>
            <a:rPr lang="en-GB" altLang="zh-CN" sz="1300" kern="1200" dirty="0" smtClean="0"/>
            <a:t> with HAE dataset to fit the random forest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get N random forest models</a:t>
          </a:r>
          <a:endParaRPr lang="zh-CN" altLang="en-US" sz="1300" kern="1200" dirty="0"/>
        </a:p>
      </dsp:txBody>
      <dsp:txXfrm>
        <a:off x="0" y="1505880"/>
        <a:ext cx="6236689" cy="1392300"/>
      </dsp:txXfrm>
    </dsp:sp>
    <dsp:sp modelId="{D11AC340-2703-44E4-BA74-B5CFCF879F28}">
      <dsp:nvSpPr>
        <dsp:cNvPr id="0" name=""/>
        <dsp:cNvSpPr/>
      </dsp:nvSpPr>
      <dsp:spPr>
        <a:xfrm>
          <a:off x="311834" y="1314000"/>
          <a:ext cx="4365682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012" tIns="0" rIns="165012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Bagging random forest in each simulation</a:t>
          </a:r>
          <a:endParaRPr lang="zh-CN" altLang="en-US" sz="1300" kern="1200" dirty="0"/>
        </a:p>
      </dsp:txBody>
      <dsp:txXfrm>
        <a:off x="330568" y="1332734"/>
        <a:ext cx="4328214" cy="346292"/>
      </dsp:txXfrm>
    </dsp:sp>
    <dsp:sp modelId="{E7B4C407-35F2-450C-8A3B-A6D65C695141}">
      <dsp:nvSpPr>
        <dsp:cNvPr id="0" name=""/>
        <dsp:cNvSpPr/>
      </dsp:nvSpPr>
      <dsp:spPr>
        <a:xfrm>
          <a:off x="0" y="3160260"/>
          <a:ext cx="6236689" cy="21703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4036" tIns="270764" rIns="48403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For the test data of each simulation, 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Apply the N random forest models to the test data to get N predict scores for each patient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Aggregate(average) the predict scores from the N models for test patient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Get the averaged predict score for the test dataset.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For each simulation, get the model performance on the test data. (recall precision pairs)</a:t>
          </a:r>
          <a:endParaRPr lang="zh-CN" altLang="zh-CN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Aggregated the precision of 5 simulations by targeting recalls</a:t>
          </a:r>
          <a:endParaRPr lang="zh-CN" altLang="zh-CN" sz="1300" kern="1200" dirty="0"/>
        </a:p>
      </dsp:txBody>
      <dsp:txXfrm>
        <a:off x="0" y="3160260"/>
        <a:ext cx="6236689" cy="2170350"/>
      </dsp:txXfrm>
    </dsp:sp>
    <dsp:sp modelId="{436C9894-1D1D-442D-AF2F-284C139E3CAC}">
      <dsp:nvSpPr>
        <dsp:cNvPr id="0" name=""/>
        <dsp:cNvSpPr/>
      </dsp:nvSpPr>
      <dsp:spPr>
        <a:xfrm>
          <a:off x="311834" y="2968380"/>
          <a:ext cx="4365682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012" tIns="0" rIns="165012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Get performance on test data</a:t>
          </a:r>
          <a:endParaRPr lang="zh-CN" altLang="en-US" sz="1300" kern="1200" dirty="0"/>
        </a:p>
      </dsp:txBody>
      <dsp:txXfrm>
        <a:off x="330568" y="2987114"/>
        <a:ext cx="4328214" cy="34629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9932EF-5E74-4540-9929-71922929D28C}">
      <dsp:nvSpPr>
        <dsp:cNvPr id="0" name=""/>
        <dsp:cNvSpPr/>
      </dsp:nvSpPr>
      <dsp:spPr>
        <a:xfrm>
          <a:off x="0" y="483229"/>
          <a:ext cx="6096000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49936" rIns="473117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AUC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Corresponding confidence interval</a:t>
          </a:r>
          <a:endParaRPr lang="zh-CN" altLang="zh-CN" sz="1200" kern="1200" dirty="0"/>
        </a:p>
      </dsp:txBody>
      <dsp:txXfrm>
        <a:off x="0" y="483229"/>
        <a:ext cx="6096000" cy="699300"/>
      </dsp:txXfrm>
    </dsp:sp>
    <dsp:sp modelId="{CAA85484-3436-40E4-8BD6-8D2F5276B7EC}">
      <dsp:nvSpPr>
        <dsp:cNvPr id="0" name=""/>
        <dsp:cNvSpPr/>
      </dsp:nvSpPr>
      <dsp:spPr>
        <a:xfrm>
          <a:off x="304800" y="306109"/>
          <a:ext cx="4267200" cy="3542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Model performance</a:t>
          </a:r>
          <a:endParaRPr lang="zh-CN" altLang="en-US" sz="1200" kern="1200" dirty="0"/>
        </a:p>
      </dsp:txBody>
      <dsp:txXfrm>
        <a:off x="322093" y="323402"/>
        <a:ext cx="4232614" cy="319654"/>
      </dsp:txXfrm>
    </dsp:sp>
    <dsp:sp modelId="{A4C442CB-EF4E-4045-9FD8-ABBBE11EB561}">
      <dsp:nvSpPr>
        <dsp:cNvPr id="0" name=""/>
        <dsp:cNvSpPr/>
      </dsp:nvSpPr>
      <dsp:spPr>
        <a:xfrm>
          <a:off x="0" y="1424449"/>
          <a:ext cx="6096000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49936" rIns="473117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Number of Times Variable Retained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Average Coefficient</a:t>
          </a:r>
          <a:endParaRPr lang="zh-CN" altLang="zh-C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Average Odds Ratio</a:t>
          </a:r>
          <a:endParaRPr lang="zh-CN" altLang="zh-CN" sz="1200" kern="1200" dirty="0"/>
        </a:p>
      </dsp:txBody>
      <dsp:txXfrm>
        <a:off x="0" y="1424449"/>
        <a:ext cx="6096000" cy="907200"/>
      </dsp:txXfrm>
    </dsp:sp>
    <dsp:sp modelId="{05AD3A1A-7E8A-4B9E-9A2E-D432BB19100F}">
      <dsp:nvSpPr>
        <dsp:cNvPr id="0" name=""/>
        <dsp:cNvSpPr/>
      </dsp:nvSpPr>
      <dsp:spPr>
        <a:xfrm>
          <a:off x="304800" y="1247330"/>
          <a:ext cx="4267200" cy="3542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Variable importance</a:t>
          </a:r>
          <a:endParaRPr lang="zh-CN" altLang="en-US" sz="1200" kern="1200" dirty="0"/>
        </a:p>
      </dsp:txBody>
      <dsp:txXfrm>
        <a:off x="322093" y="1264623"/>
        <a:ext cx="4232614" cy="319654"/>
      </dsp:txXfrm>
    </dsp:sp>
    <dsp:sp modelId="{26FB2A13-0D8C-4E78-862E-0D3B3B7C6B9D}">
      <dsp:nvSpPr>
        <dsp:cNvPr id="0" name=""/>
        <dsp:cNvSpPr/>
      </dsp:nvSpPr>
      <dsp:spPr>
        <a:xfrm>
          <a:off x="0" y="2573569"/>
          <a:ext cx="6096000" cy="1096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49936" rIns="473117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Based on most important ten variables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Odds ratio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Corresponding confidence interval</a:t>
          </a:r>
          <a:endParaRPr lang="zh-CN" altLang="zh-CN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P-value</a:t>
          </a:r>
          <a:endParaRPr lang="zh-CN" altLang="zh-CN" sz="1200" kern="1200" dirty="0"/>
        </a:p>
      </dsp:txBody>
      <dsp:txXfrm>
        <a:off x="0" y="2573569"/>
        <a:ext cx="6096000" cy="1096200"/>
      </dsp:txXfrm>
    </dsp:sp>
    <dsp:sp modelId="{850EB3EE-E576-4C28-BDF3-CDCED8A0D898}">
      <dsp:nvSpPr>
        <dsp:cNvPr id="0" name=""/>
        <dsp:cNvSpPr/>
      </dsp:nvSpPr>
      <dsp:spPr>
        <a:xfrm>
          <a:off x="302121" y="2396450"/>
          <a:ext cx="5789141" cy="3542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Odds ratio for standard (unconstrained) logistic regression</a:t>
          </a:r>
          <a:endParaRPr lang="zh-CN" altLang="en-US" sz="1200" kern="1200" dirty="0"/>
        </a:p>
      </dsp:txBody>
      <dsp:txXfrm>
        <a:off x="319414" y="2413743"/>
        <a:ext cx="5754555" cy="319654"/>
      </dsp:txXfrm>
    </dsp:sp>
    <dsp:sp modelId="{3AFFA76C-CA9F-4758-8806-55318BD6031E}">
      <dsp:nvSpPr>
        <dsp:cNvPr id="0" name=""/>
        <dsp:cNvSpPr/>
      </dsp:nvSpPr>
      <dsp:spPr>
        <a:xfrm>
          <a:off x="0" y="3911690"/>
          <a:ext cx="6096000" cy="869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49936" rIns="473117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based on logistic regression with elastic-net for most important ten variables</a:t>
          </a:r>
          <a:endParaRPr lang="zh-CN" alt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 smtClean="0"/>
            <a:t>5 quintile Groups</a:t>
          </a:r>
          <a:endParaRPr lang="zh-CN" altLang="en-US" sz="1200" kern="1200" dirty="0"/>
        </a:p>
      </dsp:txBody>
      <dsp:txXfrm>
        <a:off x="0" y="3911690"/>
        <a:ext cx="6096000" cy="869400"/>
      </dsp:txXfrm>
    </dsp:sp>
    <dsp:sp modelId="{681D9487-219F-4C83-B387-ECF91002042F}">
      <dsp:nvSpPr>
        <dsp:cNvPr id="0" name=""/>
        <dsp:cNvSpPr/>
      </dsp:nvSpPr>
      <dsp:spPr>
        <a:xfrm>
          <a:off x="304800" y="3734570"/>
          <a:ext cx="5073999" cy="3542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Actual outcomes by quintile of predicted risk score</a:t>
          </a:r>
          <a:endParaRPr lang="zh-CN" altLang="en-US" sz="1200" kern="1200" dirty="0"/>
        </a:p>
      </dsp:txBody>
      <dsp:txXfrm>
        <a:off x="322093" y="3751863"/>
        <a:ext cx="5039413" cy="31965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E5E89D-0168-40B8-A906-3F4E18E2572B}">
      <dsp:nvSpPr>
        <dsp:cNvPr id="0" name=""/>
        <dsp:cNvSpPr/>
      </dsp:nvSpPr>
      <dsp:spPr>
        <a:xfrm>
          <a:off x="0" y="229242"/>
          <a:ext cx="813782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F0BC7B-5A55-4337-A3B1-B8E3F766BE3B}">
      <dsp:nvSpPr>
        <dsp:cNvPr id="0" name=""/>
        <dsp:cNvSpPr/>
      </dsp:nvSpPr>
      <dsp:spPr>
        <a:xfrm>
          <a:off x="406891" y="66882"/>
          <a:ext cx="5696478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313" tIns="0" rIns="215313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Use random forest/SVM</a:t>
          </a:r>
          <a:endParaRPr lang="zh-CN" altLang="en-US" sz="1100" kern="1200" dirty="0"/>
        </a:p>
      </dsp:txBody>
      <dsp:txXfrm>
        <a:off x="422743" y="82734"/>
        <a:ext cx="5664774" cy="293016"/>
      </dsp:txXfrm>
    </dsp:sp>
    <dsp:sp modelId="{4F522634-B6E0-41E9-83ED-0BC8F2F5C399}">
      <dsp:nvSpPr>
        <dsp:cNvPr id="0" name=""/>
        <dsp:cNvSpPr/>
      </dsp:nvSpPr>
      <dsp:spPr>
        <a:xfrm>
          <a:off x="0" y="728202"/>
          <a:ext cx="8137826" cy="6410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1586" tIns="229108" rIns="63158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e.g. visit reason is one group, Cerebrospinal fluid is another, etc. 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– show how group variables look like</a:t>
          </a:r>
          <a:endParaRPr lang="zh-CN" altLang="en-US" sz="1100" kern="1200" dirty="0"/>
        </a:p>
      </dsp:txBody>
      <dsp:txXfrm>
        <a:off x="0" y="728202"/>
        <a:ext cx="8137826" cy="641024"/>
      </dsp:txXfrm>
    </dsp:sp>
    <dsp:sp modelId="{B25EAE34-D5DA-491F-B41C-513693ED4266}">
      <dsp:nvSpPr>
        <dsp:cNvPr id="0" name=""/>
        <dsp:cNvSpPr/>
      </dsp:nvSpPr>
      <dsp:spPr>
        <a:xfrm>
          <a:off x="406891" y="565842"/>
          <a:ext cx="5696478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313" tIns="0" rIns="215313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Divide new groups of variables for exploration</a:t>
          </a:r>
          <a:endParaRPr lang="zh-CN" altLang="en-US" sz="1100" kern="1200" dirty="0"/>
        </a:p>
      </dsp:txBody>
      <dsp:txXfrm>
        <a:off x="422743" y="581694"/>
        <a:ext cx="5664774" cy="293016"/>
      </dsp:txXfrm>
    </dsp:sp>
    <dsp:sp modelId="{58D58C6D-B354-4736-92F0-9208C372A8A3}">
      <dsp:nvSpPr>
        <dsp:cNvPr id="0" name=""/>
        <dsp:cNvSpPr/>
      </dsp:nvSpPr>
      <dsp:spPr>
        <a:xfrm>
          <a:off x="0" y="1590987"/>
          <a:ext cx="8137826" cy="623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1586" tIns="229108" rIns="63158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Focus on the composite cohort + 3 types of outcomes, namely relapse, </a:t>
          </a:r>
          <a:r>
            <a:rPr lang="en-GB" altLang="zh-CN" sz="1100" kern="1200" dirty="0" err="1" smtClean="0"/>
            <a:t>edss</a:t>
          </a:r>
          <a:r>
            <a:rPr lang="en-GB" altLang="zh-CN" sz="1100" kern="1200" dirty="0" smtClean="0"/>
            <a:t> progression and confirmed </a:t>
          </a:r>
          <a:r>
            <a:rPr lang="en-GB" altLang="zh-CN" sz="1100" kern="1200" dirty="0" err="1" smtClean="0"/>
            <a:t>edss</a:t>
          </a:r>
          <a:r>
            <a:rPr lang="en-GB" altLang="zh-CN" sz="1100" kern="1200" dirty="0" smtClean="0"/>
            <a:t> progression</a:t>
          </a:r>
          <a:endParaRPr lang="zh-CN" altLang="en-US" sz="1100" kern="1200" dirty="0"/>
        </a:p>
      </dsp:txBody>
      <dsp:txXfrm>
        <a:off x="0" y="1590987"/>
        <a:ext cx="8137826" cy="623700"/>
      </dsp:txXfrm>
    </dsp:sp>
    <dsp:sp modelId="{E3C14568-E4F2-4DB3-AEC1-B9876509F1EE}">
      <dsp:nvSpPr>
        <dsp:cNvPr id="0" name=""/>
        <dsp:cNvSpPr/>
      </dsp:nvSpPr>
      <dsp:spPr>
        <a:xfrm>
          <a:off x="406891" y="1428627"/>
          <a:ext cx="5696478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313" tIns="0" rIns="215313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zh-CN" sz="1100" kern="1200" dirty="0" smtClean="0"/>
            <a:t>Cohort + outcome</a:t>
          </a:r>
          <a:endParaRPr lang="zh-CN" altLang="en-US" sz="1100" kern="1200" dirty="0"/>
        </a:p>
      </dsp:txBody>
      <dsp:txXfrm>
        <a:off x="422743" y="1444479"/>
        <a:ext cx="5664774" cy="293016"/>
      </dsp:txXfrm>
    </dsp:sp>
    <dsp:sp modelId="{292AFFDF-B385-401A-95E9-F9B4EE75411D}">
      <dsp:nvSpPr>
        <dsp:cNvPr id="0" name=""/>
        <dsp:cNvSpPr/>
      </dsp:nvSpPr>
      <dsp:spPr>
        <a:xfrm>
          <a:off x="0" y="2436447"/>
          <a:ext cx="8137826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1586" tIns="229108" rIns="63158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stratify the data into 2 halves (different for every outcome)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Hide one half permanently (we’ll probably never touch it)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we use the other half to do the following experiments</a:t>
          </a:r>
          <a:endParaRPr lang="zh-CN" altLang="en-US" sz="1100" kern="1200" dirty="0"/>
        </a:p>
      </dsp:txBody>
      <dsp:txXfrm>
        <a:off x="0" y="2436447"/>
        <a:ext cx="8137826" cy="831600"/>
      </dsp:txXfrm>
    </dsp:sp>
    <dsp:sp modelId="{F54D6949-A787-47C0-9EE2-70D6C2ECE530}">
      <dsp:nvSpPr>
        <dsp:cNvPr id="0" name=""/>
        <dsp:cNvSpPr/>
      </dsp:nvSpPr>
      <dsp:spPr>
        <a:xfrm>
          <a:off x="406891" y="2274087"/>
          <a:ext cx="5696478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313" tIns="0" rIns="215313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zh-CN" sz="1100" kern="1200" dirty="0" smtClean="0"/>
            <a:t>Data size</a:t>
          </a:r>
          <a:endParaRPr lang="zh-CN" altLang="en-US" sz="1100" kern="1200" dirty="0"/>
        </a:p>
      </dsp:txBody>
      <dsp:txXfrm>
        <a:off x="422743" y="2289939"/>
        <a:ext cx="5664774" cy="293016"/>
      </dsp:txXfrm>
    </dsp:sp>
    <dsp:sp modelId="{B13B526A-E323-404E-BE99-B12E2689DC3D}">
      <dsp:nvSpPr>
        <dsp:cNvPr id="0" name=""/>
        <dsp:cNvSpPr/>
      </dsp:nvSpPr>
      <dsp:spPr>
        <a:xfrm>
          <a:off x="0" y="3489807"/>
          <a:ext cx="8137826" cy="17671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1586" tIns="229108" rIns="631586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say there are K groups obtained, then we do 2 * K experiments for each of the cohort + outcome combinations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For each experiment, use all the base predictors + ONE group of new variables, produce the test and training AUCs (Remember that everything in this experiment only uses one half data produced!!)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For each specific new group, do two experiments: one using our existing elastic net and the other using the newly implemented random forest/SVM. This will give us two test AUCs for the same group, which tells us whether the new group is helping the prediction. 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100" kern="1200" dirty="0" smtClean="0"/>
            <a:t>do this for all K groups. This tells us which groups are helping</a:t>
          </a:r>
          <a:endParaRPr lang="zh-CN" altLang="en-US" sz="1100" kern="1200" dirty="0"/>
        </a:p>
      </dsp:txBody>
      <dsp:txXfrm>
        <a:off x="0" y="3489807"/>
        <a:ext cx="8137826" cy="1767150"/>
      </dsp:txXfrm>
    </dsp:sp>
    <dsp:sp modelId="{9506CF50-375C-439F-9478-A81D22774C05}">
      <dsp:nvSpPr>
        <dsp:cNvPr id="0" name=""/>
        <dsp:cNvSpPr/>
      </dsp:nvSpPr>
      <dsp:spPr>
        <a:xfrm>
          <a:off x="406891" y="3327447"/>
          <a:ext cx="5696478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313" tIns="0" rIns="215313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Do the experiment</a:t>
          </a:r>
          <a:endParaRPr lang="zh-CN" altLang="en-US" sz="1100" kern="1200" dirty="0"/>
        </a:p>
      </dsp:txBody>
      <dsp:txXfrm>
        <a:off x="422743" y="3343299"/>
        <a:ext cx="5664774" cy="29301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DB3302-DEA6-4008-A52B-2B565AEE1369}">
      <dsp:nvSpPr>
        <dsp:cNvPr id="0" name=""/>
        <dsp:cNvSpPr/>
      </dsp:nvSpPr>
      <dsp:spPr>
        <a:xfrm>
          <a:off x="2844137" y="1490247"/>
          <a:ext cx="157699" cy="515196"/>
        </a:xfrm>
        <a:custGeom>
          <a:avLst/>
          <a:gdLst/>
          <a:ahLst/>
          <a:cxnLst/>
          <a:rect l="0" t="0" r="0" b="0"/>
          <a:pathLst>
            <a:path>
              <a:moveTo>
                <a:pt x="157699" y="0"/>
              </a:moveTo>
              <a:lnTo>
                <a:pt x="157699" y="515196"/>
              </a:lnTo>
              <a:lnTo>
                <a:pt x="0" y="51519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90EBBC-ECC9-4DC5-B4FA-91A44968B7CF}">
      <dsp:nvSpPr>
        <dsp:cNvPr id="0" name=""/>
        <dsp:cNvSpPr/>
      </dsp:nvSpPr>
      <dsp:spPr>
        <a:xfrm>
          <a:off x="3001837" y="1490247"/>
          <a:ext cx="2477296" cy="1030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855"/>
              </a:lnTo>
              <a:lnTo>
                <a:pt x="2477296" y="918855"/>
              </a:lnTo>
              <a:lnTo>
                <a:pt x="2477296" y="1030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AE3D3E-3FDC-4EA9-A8C9-18AE04F4E6F0}">
      <dsp:nvSpPr>
        <dsp:cNvPr id="0" name=""/>
        <dsp:cNvSpPr/>
      </dsp:nvSpPr>
      <dsp:spPr>
        <a:xfrm>
          <a:off x="3001837" y="1490247"/>
          <a:ext cx="1238648" cy="1030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8855"/>
              </a:lnTo>
              <a:lnTo>
                <a:pt x="1238648" y="918855"/>
              </a:lnTo>
              <a:lnTo>
                <a:pt x="1238648" y="1030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61ED7-D3B5-4F96-828D-FE36F29F4FEA}">
      <dsp:nvSpPr>
        <dsp:cNvPr id="0" name=""/>
        <dsp:cNvSpPr/>
      </dsp:nvSpPr>
      <dsp:spPr>
        <a:xfrm>
          <a:off x="2956117" y="1490247"/>
          <a:ext cx="91440" cy="103039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30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FFC380-44DD-4672-ACF5-55D75EFC0251}">
      <dsp:nvSpPr>
        <dsp:cNvPr id="0" name=""/>
        <dsp:cNvSpPr/>
      </dsp:nvSpPr>
      <dsp:spPr>
        <a:xfrm>
          <a:off x="1763189" y="1490247"/>
          <a:ext cx="1238648" cy="1030392"/>
        </a:xfrm>
        <a:custGeom>
          <a:avLst/>
          <a:gdLst/>
          <a:ahLst/>
          <a:cxnLst/>
          <a:rect l="0" t="0" r="0" b="0"/>
          <a:pathLst>
            <a:path>
              <a:moveTo>
                <a:pt x="1238648" y="0"/>
              </a:moveTo>
              <a:lnTo>
                <a:pt x="1238648" y="918855"/>
              </a:lnTo>
              <a:lnTo>
                <a:pt x="0" y="918855"/>
              </a:lnTo>
              <a:lnTo>
                <a:pt x="0" y="1030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C5AE6F-00AE-482A-8CD3-2804C63CFFF1}">
      <dsp:nvSpPr>
        <dsp:cNvPr id="0" name=""/>
        <dsp:cNvSpPr/>
      </dsp:nvSpPr>
      <dsp:spPr>
        <a:xfrm>
          <a:off x="524540" y="1490247"/>
          <a:ext cx="2477296" cy="1030392"/>
        </a:xfrm>
        <a:custGeom>
          <a:avLst/>
          <a:gdLst/>
          <a:ahLst/>
          <a:cxnLst/>
          <a:rect l="0" t="0" r="0" b="0"/>
          <a:pathLst>
            <a:path>
              <a:moveTo>
                <a:pt x="2477296" y="0"/>
              </a:moveTo>
              <a:lnTo>
                <a:pt x="2477296" y="918855"/>
              </a:lnTo>
              <a:lnTo>
                <a:pt x="0" y="918855"/>
              </a:lnTo>
              <a:lnTo>
                <a:pt x="0" y="1030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42E5D5-5131-4C9A-9F35-2333E1760F94}">
      <dsp:nvSpPr>
        <dsp:cNvPr id="0" name=""/>
        <dsp:cNvSpPr/>
      </dsp:nvSpPr>
      <dsp:spPr>
        <a:xfrm>
          <a:off x="2540213" y="101222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Whole data set</a:t>
          </a:r>
          <a:endParaRPr lang="zh-CN" altLang="en-US" sz="1200" kern="1200" dirty="0"/>
        </a:p>
      </dsp:txBody>
      <dsp:txXfrm>
        <a:off x="2540213" y="1012229"/>
        <a:ext cx="923248" cy="478017"/>
      </dsp:txXfrm>
    </dsp:sp>
    <dsp:sp modelId="{4EB9DCFD-13E0-4EDC-A872-9960D609B7D6}">
      <dsp:nvSpPr>
        <dsp:cNvPr id="0" name=""/>
        <dsp:cNvSpPr/>
      </dsp:nvSpPr>
      <dsp:spPr>
        <a:xfrm>
          <a:off x="2724862" y="1384020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2G</a:t>
          </a:r>
          <a:endParaRPr lang="zh-CN" altLang="en-US" sz="1000" kern="1200" dirty="0"/>
        </a:p>
      </dsp:txBody>
      <dsp:txXfrm>
        <a:off x="2724862" y="1384020"/>
        <a:ext cx="830923" cy="159339"/>
      </dsp:txXfrm>
    </dsp:sp>
    <dsp:sp modelId="{DFA10936-A7A5-4D63-9873-C178A952667A}">
      <dsp:nvSpPr>
        <dsp:cNvPr id="0" name=""/>
        <dsp:cNvSpPr/>
      </dsp:nvSpPr>
      <dsp:spPr>
        <a:xfrm>
          <a:off x="62916" y="252063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part1</a:t>
          </a:r>
          <a:endParaRPr lang="zh-CN" altLang="en-US" sz="1200" kern="1200" dirty="0"/>
        </a:p>
      </dsp:txBody>
      <dsp:txXfrm>
        <a:off x="62916" y="2520639"/>
        <a:ext cx="923248" cy="478017"/>
      </dsp:txXfrm>
    </dsp:sp>
    <dsp:sp modelId="{4C8ECC65-4E52-4568-8DF0-66566BFCF776}">
      <dsp:nvSpPr>
        <dsp:cNvPr id="0" name=""/>
        <dsp:cNvSpPr/>
      </dsp:nvSpPr>
      <dsp:spPr>
        <a:xfrm>
          <a:off x="247565" y="2892431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10M</a:t>
          </a:r>
          <a:endParaRPr lang="zh-CN" altLang="en-US" sz="1000" kern="1200" dirty="0"/>
        </a:p>
      </dsp:txBody>
      <dsp:txXfrm>
        <a:off x="247565" y="2892431"/>
        <a:ext cx="830923" cy="159339"/>
      </dsp:txXfrm>
    </dsp:sp>
    <dsp:sp modelId="{7BA27F85-B2DD-4717-B590-92E236A56DF9}">
      <dsp:nvSpPr>
        <dsp:cNvPr id="0" name=""/>
        <dsp:cNvSpPr/>
      </dsp:nvSpPr>
      <dsp:spPr>
        <a:xfrm>
          <a:off x="1301564" y="252063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part2</a:t>
          </a:r>
          <a:endParaRPr lang="zh-CN" altLang="en-US" sz="1200" kern="1200" dirty="0"/>
        </a:p>
      </dsp:txBody>
      <dsp:txXfrm>
        <a:off x="1301564" y="2520639"/>
        <a:ext cx="923248" cy="478017"/>
      </dsp:txXfrm>
    </dsp:sp>
    <dsp:sp modelId="{524153D7-E157-418C-AABB-EAE018EAF0B6}">
      <dsp:nvSpPr>
        <dsp:cNvPr id="0" name=""/>
        <dsp:cNvSpPr/>
      </dsp:nvSpPr>
      <dsp:spPr>
        <a:xfrm>
          <a:off x="1486214" y="2892431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10M</a:t>
          </a:r>
          <a:endParaRPr lang="zh-CN" altLang="en-US" sz="1000" kern="1200" dirty="0"/>
        </a:p>
      </dsp:txBody>
      <dsp:txXfrm>
        <a:off x="1486214" y="2892431"/>
        <a:ext cx="830923" cy="159339"/>
      </dsp:txXfrm>
    </dsp:sp>
    <dsp:sp modelId="{29DF6708-CD88-4FAE-A6A0-1D46E848F981}">
      <dsp:nvSpPr>
        <dsp:cNvPr id="0" name=""/>
        <dsp:cNvSpPr/>
      </dsp:nvSpPr>
      <dsp:spPr>
        <a:xfrm>
          <a:off x="2540213" y="252063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Part…</a:t>
          </a:r>
          <a:endParaRPr lang="zh-CN" altLang="en-US" sz="1200" kern="1200" dirty="0"/>
        </a:p>
      </dsp:txBody>
      <dsp:txXfrm>
        <a:off x="2540213" y="2520639"/>
        <a:ext cx="923248" cy="478017"/>
      </dsp:txXfrm>
    </dsp:sp>
    <dsp:sp modelId="{035DD44C-4940-441F-BDEE-1E07CADD3E46}">
      <dsp:nvSpPr>
        <dsp:cNvPr id="0" name=""/>
        <dsp:cNvSpPr/>
      </dsp:nvSpPr>
      <dsp:spPr>
        <a:xfrm>
          <a:off x="2724862" y="2892431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10M</a:t>
          </a:r>
          <a:endParaRPr lang="zh-CN" altLang="en-US" sz="1000" kern="1200" dirty="0"/>
        </a:p>
      </dsp:txBody>
      <dsp:txXfrm>
        <a:off x="2724862" y="2892431"/>
        <a:ext cx="830923" cy="159339"/>
      </dsp:txXfrm>
    </dsp:sp>
    <dsp:sp modelId="{98630F2D-523C-49E2-B54F-D1FE62688F00}">
      <dsp:nvSpPr>
        <dsp:cNvPr id="0" name=""/>
        <dsp:cNvSpPr/>
      </dsp:nvSpPr>
      <dsp:spPr>
        <a:xfrm>
          <a:off x="3778861" y="252063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part49</a:t>
          </a:r>
          <a:endParaRPr lang="zh-CN" altLang="en-US" sz="1200" kern="1200" dirty="0"/>
        </a:p>
      </dsp:txBody>
      <dsp:txXfrm>
        <a:off x="3778861" y="2520639"/>
        <a:ext cx="923248" cy="478017"/>
      </dsp:txXfrm>
    </dsp:sp>
    <dsp:sp modelId="{5D5C95AE-98C5-4301-BCEE-15408D585B3C}">
      <dsp:nvSpPr>
        <dsp:cNvPr id="0" name=""/>
        <dsp:cNvSpPr/>
      </dsp:nvSpPr>
      <dsp:spPr>
        <a:xfrm>
          <a:off x="3963511" y="2892431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10M</a:t>
          </a:r>
          <a:endParaRPr lang="zh-CN" altLang="en-US" sz="1000" kern="1200" dirty="0"/>
        </a:p>
      </dsp:txBody>
      <dsp:txXfrm>
        <a:off x="3963511" y="2892431"/>
        <a:ext cx="830923" cy="159339"/>
      </dsp:txXfrm>
    </dsp:sp>
    <dsp:sp modelId="{4BCFA70B-0E38-442D-811B-FC8D77ED26F2}">
      <dsp:nvSpPr>
        <dsp:cNvPr id="0" name=""/>
        <dsp:cNvSpPr/>
      </dsp:nvSpPr>
      <dsp:spPr>
        <a:xfrm>
          <a:off x="5017510" y="2520639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part50</a:t>
          </a:r>
          <a:endParaRPr lang="zh-CN" altLang="en-US" sz="1200" kern="1200" dirty="0"/>
        </a:p>
      </dsp:txBody>
      <dsp:txXfrm>
        <a:off x="5017510" y="2520639"/>
        <a:ext cx="923248" cy="478017"/>
      </dsp:txXfrm>
    </dsp:sp>
    <dsp:sp modelId="{15DA89A0-29BE-4746-B70B-67742D3A694C}">
      <dsp:nvSpPr>
        <dsp:cNvPr id="0" name=""/>
        <dsp:cNvSpPr/>
      </dsp:nvSpPr>
      <dsp:spPr>
        <a:xfrm>
          <a:off x="5202159" y="2892431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~10M</a:t>
          </a:r>
          <a:endParaRPr lang="zh-CN" altLang="en-US" sz="1000" kern="1200" dirty="0"/>
        </a:p>
      </dsp:txBody>
      <dsp:txXfrm>
        <a:off x="5202159" y="2892431"/>
        <a:ext cx="830923" cy="159339"/>
      </dsp:txXfrm>
    </dsp:sp>
    <dsp:sp modelId="{20C73A81-B08B-47CA-8D8A-2BA13EE2487D}">
      <dsp:nvSpPr>
        <dsp:cNvPr id="0" name=""/>
        <dsp:cNvSpPr/>
      </dsp:nvSpPr>
      <dsp:spPr>
        <a:xfrm>
          <a:off x="1920888" y="1766434"/>
          <a:ext cx="923248" cy="478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6745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Split into small parts</a:t>
          </a:r>
          <a:endParaRPr lang="zh-CN" altLang="en-US" sz="1200" kern="1200" dirty="0"/>
        </a:p>
      </dsp:txBody>
      <dsp:txXfrm>
        <a:off x="1920888" y="1766434"/>
        <a:ext cx="923248" cy="478017"/>
      </dsp:txXfrm>
    </dsp:sp>
    <dsp:sp modelId="{CC2EF529-F038-42D5-AB35-6E270BBA6F9B}">
      <dsp:nvSpPr>
        <dsp:cNvPr id="0" name=""/>
        <dsp:cNvSpPr/>
      </dsp:nvSpPr>
      <dsp:spPr>
        <a:xfrm>
          <a:off x="2105538" y="2138226"/>
          <a:ext cx="830923" cy="159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50 parts</a:t>
          </a:r>
          <a:endParaRPr lang="zh-CN" altLang="en-US" sz="1000" kern="1200" dirty="0"/>
        </a:p>
      </dsp:txBody>
      <dsp:txXfrm>
        <a:off x="2105538" y="2138226"/>
        <a:ext cx="830923" cy="1593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08AD0B-FC5E-4AFD-BAE7-D5F0B5E7CBF7}">
      <dsp:nvSpPr>
        <dsp:cNvPr id="0" name=""/>
        <dsp:cNvSpPr/>
      </dsp:nvSpPr>
      <dsp:spPr>
        <a:xfrm>
          <a:off x="0" y="233799"/>
          <a:ext cx="6096000" cy="826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312420" rIns="473117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500" kern="1200" dirty="0" smtClean="0">
              <a:latin typeface="Arial" pitchFamily="34" charset="0"/>
              <a:cs typeface="Arial" pitchFamily="34" charset="0"/>
            </a:rPr>
            <a:t>Ideally the evaluation / test shall be on a dataset that has a similar class </a:t>
          </a:r>
          <a:r>
            <a:rPr lang="en-GB" altLang="zh-CN" sz="1500" kern="1200" dirty="0" err="1" smtClean="0">
              <a:latin typeface="Arial" pitchFamily="34" charset="0"/>
              <a:cs typeface="Arial" pitchFamily="34" charset="0"/>
            </a:rPr>
            <a:t>imbalanceness</a:t>
          </a:r>
          <a:r>
            <a:rPr lang="en-GB" altLang="zh-CN" sz="1500" kern="1200" dirty="0" smtClean="0">
              <a:latin typeface="Arial" pitchFamily="34" charset="0"/>
              <a:cs typeface="Arial" pitchFamily="34" charset="0"/>
            </a:rPr>
            <a:t> as 1K:~123M</a:t>
          </a:r>
          <a:endParaRPr lang="zh-CN" altLang="en-US" sz="1500" kern="1200" dirty="0"/>
        </a:p>
      </dsp:txBody>
      <dsp:txXfrm>
        <a:off x="0" y="233799"/>
        <a:ext cx="6096000" cy="826875"/>
      </dsp:txXfrm>
    </dsp:sp>
    <dsp:sp modelId="{53AB8FB6-543C-4B22-BBCF-EF8CDA1480FA}">
      <dsp:nvSpPr>
        <dsp:cNvPr id="0" name=""/>
        <dsp:cNvSpPr/>
      </dsp:nvSpPr>
      <dsp:spPr>
        <a:xfrm>
          <a:off x="304800" y="12399"/>
          <a:ext cx="426720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First on a benchmark dataset ~3M</a:t>
          </a:r>
          <a:endParaRPr lang="zh-CN" altLang="en-US" sz="1500" kern="1200" dirty="0"/>
        </a:p>
      </dsp:txBody>
      <dsp:txXfrm>
        <a:off x="326416" y="34015"/>
        <a:ext cx="4223968" cy="399568"/>
      </dsp:txXfrm>
    </dsp:sp>
    <dsp:sp modelId="{1328B6A1-1831-4DC8-B899-C064B251D8B9}">
      <dsp:nvSpPr>
        <dsp:cNvPr id="0" name=""/>
        <dsp:cNvSpPr/>
      </dsp:nvSpPr>
      <dsp:spPr>
        <a:xfrm>
          <a:off x="0" y="1363074"/>
          <a:ext cx="6096000" cy="12993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312420" rIns="473117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500" kern="1200" dirty="0" smtClean="0"/>
            <a:t>Get the prediction result by applying the final model on the final large dataset</a:t>
          </a:r>
          <a:endParaRPr lang="zh-CN" alt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500" kern="1200" dirty="0" smtClean="0"/>
            <a:t>get the targeting patients which falling into targeting recall bucket</a:t>
          </a:r>
          <a:endParaRPr lang="zh-CN" altLang="en-US" sz="1500" kern="1200" dirty="0"/>
        </a:p>
      </dsp:txBody>
      <dsp:txXfrm>
        <a:off x="0" y="1363074"/>
        <a:ext cx="6096000" cy="1299375"/>
      </dsp:txXfrm>
    </dsp:sp>
    <dsp:sp modelId="{4D64B31B-DFEA-4433-A9C8-0FA2EA0509B0}">
      <dsp:nvSpPr>
        <dsp:cNvPr id="0" name=""/>
        <dsp:cNvSpPr/>
      </dsp:nvSpPr>
      <dsp:spPr>
        <a:xfrm>
          <a:off x="304800" y="1141674"/>
          <a:ext cx="426720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Finally on the large dataset ~123M</a:t>
          </a:r>
          <a:endParaRPr lang="zh-CN" altLang="en-US" sz="1500" kern="1200" dirty="0"/>
        </a:p>
      </dsp:txBody>
      <dsp:txXfrm>
        <a:off x="326416" y="1163290"/>
        <a:ext cx="4223968" cy="399568"/>
      </dsp:txXfrm>
    </dsp:sp>
    <dsp:sp modelId="{DA5E522C-1327-45DE-BA35-A8A529012300}">
      <dsp:nvSpPr>
        <dsp:cNvPr id="0" name=""/>
        <dsp:cNvSpPr/>
      </dsp:nvSpPr>
      <dsp:spPr>
        <a:xfrm>
          <a:off x="0" y="2964849"/>
          <a:ext cx="6096000" cy="1086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312420" rIns="473117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500" kern="1200" dirty="0" smtClean="0">
              <a:latin typeface="Arial" pitchFamily="34" charset="0"/>
              <a:cs typeface="Arial" pitchFamily="34" charset="0"/>
            </a:rPr>
            <a:t>The metric to use is the precision at </a:t>
          </a:r>
          <a:r>
            <a:rPr lang="en-GB" altLang="zh-CN" sz="1500" b="1" kern="1200" dirty="0" smtClean="0">
              <a:latin typeface="Arial" pitchFamily="34" charset="0"/>
              <a:cs typeface="Arial" pitchFamily="34" charset="0"/>
            </a:rPr>
            <a:t>low-levels</a:t>
          </a:r>
          <a:r>
            <a:rPr lang="en-GB" altLang="zh-CN" sz="1500" kern="1200" dirty="0" smtClean="0">
              <a:latin typeface="Arial" pitchFamily="34" charset="0"/>
              <a:cs typeface="Arial" pitchFamily="34" charset="0"/>
            </a:rPr>
            <a:t> of recall, </a:t>
          </a:r>
          <a:endParaRPr lang="zh-CN" alt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500" kern="1200" dirty="0" smtClean="0">
              <a:latin typeface="Arial" pitchFamily="34" charset="0"/>
              <a:cs typeface="Arial" pitchFamily="34" charset="0"/>
            </a:rPr>
            <a:t>e.g. the average precision of recall values at 0.03, 0.04, 0.05, 0.06 and 0.07</a:t>
          </a:r>
          <a:endParaRPr lang="zh-CN" altLang="en-US" sz="1500" kern="1200" dirty="0"/>
        </a:p>
      </dsp:txBody>
      <dsp:txXfrm>
        <a:off x="0" y="2964849"/>
        <a:ext cx="6096000" cy="1086750"/>
      </dsp:txXfrm>
    </dsp:sp>
    <dsp:sp modelId="{DB0FD15F-DACD-4B04-84E3-845D36220BFB}">
      <dsp:nvSpPr>
        <dsp:cNvPr id="0" name=""/>
        <dsp:cNvSpPr/>
      </dsp:nvSpPr>
      <dsp:spPr>
        <a:xfrm>
          <a:off x="304800" y="2743450"/>
          <a:ext cx="4267200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Metric used in performance</a:t>
          </a:r>
          <a:endParaRPr lang="zh-CN" altLang="en-US" sz="1500" kern="1200" dirty="0"/>
        </a:p>
      </dsp:txBody>
      <dsp:txXfrm>
        <a:off x="326416" y="2765066"/>
        <a:ext cx="4223968" cy="3995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BA33D8-5AD9-4D92-B91C-220FB1D8DF59}">
      <dsp:nvSpPr>
        <dsp:cNvPr id="0" name=""/>
        <dsp:cNvSpPr/>
      </dsp:nvSpPr>
      <dsp:spPr>
        <a:xfrm>
          <a:off x="0" y="248960"/>
          <a:ext cx="5557462" cy="167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321" tIns="291592" rIns="431321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Arial" pitchFamily="34" charset="0"/>
              <a:cs typeface="Arial" pitchFamily="34" charset="0"/>
            </a:rPr>
            <a:t>To get the prediction on the test data</a:t>
          </a:r>
          <a:endParaRPr lang="zh-CN" alt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Arial" pitchFamily="34" charset="0"/>
              <a:cs typeface="Arial" pitchFamily="34" charset="0"/>
            </a:rPr>
            <a:t>Give a select rate of how many patients do you want to select from negative ones</a:t>
          </a:r>
          <a:endParaRPr lang="zh-CN" alt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Arial" pitchFamily="34" charset="0"/>
              <a:cs typeface="Arial" pitchFamily="34" charset="0"/>
            </a:rPr>
            <a:t>Get a threshold of prediction for the negative patients selection</a:t>
          </a:r>
          <a:endParaRPr lang="zh-CN" alt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Arial" pitchFamily="34" charset="0"/>
              <a:cs typeface="Arial" pitchFamily="34" charset="0"/>
            </a:rPr>
            <a:t>Select the negative ones using the threshold</a:t>
          </a:r>
          <a:endParaRPr lang="zh-CN" altLang="en-US" sz="1400" kern="1200" dirty="0"/>
        </a:p>
      </dsp:txBody>
      <dsp:txXfrm>
        <a:off x="0" y="248960"/>
        <a:ext cx="5557462" cy="1675800"/>
      </dsp:txXfrm>
    </dsp:sp>
    <dsp:sp modelId="{838BA386-8293-41B8-BBEC-AAD5B4AEBC2E}">
      <dsp:nvSpPr>
        <dsp:cNvPr id="0" name=""/>
        <dsp:cNvSpPr/>
      </dsp:nvSpPr>
      <dsp:spPr>
        <a:xfrm>
          <a:off x="277873" y="3714"/>
          <a:ext cx="3890223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7041" tIns="0" rIns="14704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First-stage lasso model</a:t>
          </a:r>
          <a:endParaRPr lang="zh-CN" altLang="en-US" sz="1400" kern="1200" dirty="0"/>
        </a:p>
      </dsp:txBody>
      <dsp:txXfrm>
        <a:off x="298048" y="23889"/>
        <a:ext cx="3849873" cy="372930"/>
      </dsp:txXfrm>
    </dsp:sp>
    <dsp:sp modelId="{880D8732-D286-47D7-9065-F9BE0F7D6AF4}">
      <dsp:nvSpPr>
        <dsp:cNvPr id="0" name=""/>
        <dsp:cNvSpPr/>
      </dsp:nvSpPr>
      <dsp:spPr>
        <a:xfrm>
          <a:off x="0" y="2168395"/>
          <a:ext cx="5557462" cy="815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321" tIns="291592" rIns="431321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Using the new formed data</a:t>
          </a:r>
          <a:endParaRPr lang="zh-CN" alt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To get the prediction for the new test data</a:t>
          </a:r>
          <a:endParaRPr lang="zh-CN" altLang="en-US" sz="1400" kern="1200" dirty="0"/>
        </a:p>
      </dsp:txBody>
      <dsp:txXfrm>
        <a:off x="0" y="2168395"/>
        <a:ext cx="5557462" cy="815850"/>
      </dsp:txXfrm>
    </dsp:sp>
    <dsp:sp modelId="{5CE4F8C0-A560-417F-A8E1-590CEEB269B2}">
      <dsp:nvSpPr>
        <dsp:cNvPr id="0" name=""/>
        <dsp:cNvSpPr/>
      </dsp:nvSpPr>
      <dsp:spPr>
        <a:xfrm>
          <a:off x="277873" y="1961755"/>
          <a:ext cx="3890223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7041" tIns="0" rIns="14704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Second-stage lasso model</a:t>
          </a:r>
          <a:endParaRPr lang="zh-CN" altLang="en-US" sz="1400" kern="1200" dirty="0"/>
        </a:p>
      </dsp:txBody>
      <dsp:txXfrm>
        <a:off x="298048" y="1981930"/>
        <a:ext cx="3849873" cy="372930"/>
      </dsp:txXfrm>
    </dsp:sp>
    <dsp:sp modelId="{1DBAEE25-FFCA-4140-8925-B8C6995E28DD}">
      <dsp:nvSpPr>
        <dsp:cNvPr id="0" name=""/>
        <dsp:cNvSpPr/>
      </dsp:nvSpPr>
      <dsp:spPr>
        <a:xfrm>
          <a:off x="0" y="3266485"/>
          <a:ext cx="5557462" cy="793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321" tIns="291592" rIns="431321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Based on the true label, first-stage flag and the prediction in the second-stage</a:t>
          </a:r>
          <a:endParaRPr lang="zh-CN" altLang="en-US" sz="1400" kern="1200" dirty="0"/>
        </a:p>
      </dsp:txBody>
      <dsp:txXfrm>
        <a:off x="0" y="3266485"/>
        <a:ext cx="5557462" cy="793800"/>
      </dsp:txXfrm>
    </dsp:sp>
    <dsp:sp modelId="{255098DD-B8AF-4D8A-99AE-E74DEF851DB5}">
      <dsp:nvSpPr>
        <dsp:cNvPr id="0" name=""/>
        <dsp:cNvSpPr/>
      </dsp:nvSpPr>
      <dsp:spPr>
        <a:xfrm>
          <a:off x="277873" y="3059844"/>
          <a:ext cx="3890223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7041" tIns="0" rIns="14704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 smtClean="0"/>
            <a:t>Get the model performance</a:t>
          </a:r>
          <a:endParaRPr lang="zh-CN" altLang="en-US" sz="1400" kern="1200" dirty="0"/>
        </a:p>
      </dsp:txBody>
      <dsp:txXfrm>
        <a:off x="298048" y="3080019"/>
        <a:ext cx="3849873" cy="37293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2EFB13-1A40-4406-974F-B142E65EA4A0}">
      <dsp:nvSpPr>
        <dsp:cNvPr id="0" name=""/>
        <dsp:cNvSpPr/>
      </dsp:nvSpPr>
      <dsp:spPr>
        <a:xfrm rot="5400000">
          <a:off x="-162520" y="170972"/>
          <a:ext cx="1083468" cy="7584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why</a:t>
          </a:r>
          <a:endParaRPr lang="zh-CN" altLang="en-US" sz="1100" kern="1200" dirty="0"/>
        </a:p>
      </dsp:txBody>
      <dsp:txXfrm rot="-5400000">
        <a:off x="0" y="387666"/>
        <a:ext cx="758428" cy="325040"/>
      </dsp:txXfrm>
    </dsp:sp>
    <dsp:sp modelId="{EA05BB3F-91E8-418C-A85C-8CC0B39245F9}">
      <dsp:nvSpPr>
        <dsp:cNvPr id="0" name=""/>
        <dsp:cNvSpPr/>
      </dsp:nvSpPr>
      <dsp:spPr>
        <a:xfrm rot="5400000">
          <a:off x="3075086" y="-2316658"/>
          <a:ext cx="704254" cy="533757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Pay attention to precision on targeting recall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No need to recall all the positive ones</a:t>
          </a:r>
          <a:endParaRPr lang="zh-CN" altLang="en-US" sz="1300" kern="1200" dirty="0"/>
        </a:p>
      </dsp:txBody>
      <dsp:txXfrm rot="-5400000">
        <a:off x="758428" y="34379"/>
        <a:ext cx="5303192" cy="635496"/>
      </dsp:txXfrm>
    </dsp:sp>
    <dsp:sp modelId="{74F6BB54-8FF0-4399-A83E-B7E0C5ECD9BA}">
      <dsp:nvSpPr>
        <dsp:cNvPr id="0" name=""/>
        <dsp:cNvSpPr/>
      </dsp:nvSpPr>
      <dsp:spPr>
        <a:xfrm rot="5400000">
          <a:off x="-162520" y="1111627"/>
          <a:ext cx="1083468" cy="7584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object</a:t>
          </a:r>
          <a:endParaRPr lang="zh-CN" altLang="en-US" sz="1100" kern="1200" dirty="0"/>
        </a:p>
      </dsp:txBody>
      <dsp:txXfrm rot="-5400000">
        <a:off x="0" y="1328321"/>
        <a:ext cx="758428" cy="325040"/>
      </dsp:txXfrm>
    </dsp:sp>
    <dsp:sp modelId="{2E67A02C-CF84-46E2-B237-5A948A59A2DF}">
      <dsp:nvSpPr>
        <dsp:cNvPr id="0" name=""/>
        <dsp:cNvSpPr/>
      </dsp:nvSpPr>
      <dsp:spPr>
        <a:xfrm rot="5400000">
          <a:off x="3075086" y="-1367551"/>
          <a:ext cx="704254" cy="533757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smtClean="0"/>
            <a:t>For finding “easy” positive ones</a:t>
          </a:r>
          <a:endParaRPr lang="zh-CN" altLang="en-US" sz="1300" kern="1200"/>
        </a:p>
      </dsp:txBody>
      <dsp:txXfrm rot="-5400000">
        <a:off x="758428" y="983486"/>
        <a:ext cx="5303192" cy="635496"/>
      </dsp:txXfrm>
    </dsp:sp>
    <dsp:sp modelId="{879BF6D9-0326-447F-A317-65CA56FA3158}">
      <dsp:nvSpPr>
        <dsp:cNvPr id="0" name=""/>
        <dsp:cNvSpPr/>
      </dsp:nvSpPr>
      <dsp:spPr>
        <a:xfrm rot="5400000">
          <a:off x="-162520" y="2193944"/>
          <a:ext cx="1083468" cy="7584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how</a:t>
          </a:r>
          <a:endParaRPr lang="zh-CN" altLang="en-US" sz="1100" kern="1200" dirty="0"/>
        </a:p>
      </dsp:txBody>
      <dsp:txXfrm rot="-5400000">
        <a:off x="0" y="2410638"/>
        <a:ext cx="758428" cy="325040"/>
      </dsp:txXfrm>
    </dsp:sp>
    <dsp:sp modelId="{F6460874-471B-49CC-A854-DF15797BAB8B}">
      <dsp:nvSpPr>
        <dsp:cNvPr id="0" name=""/>
        <dsp:cNvSpPr/>
      </dsp:nvSpPr>
      <dsp:spPr>
        <a:xfrm rot="5400000">
          <a:off x="2933425" y="-285234"/>
          <a:ext cx="987576" cy="533757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Do selection/weighting before model training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KNN/similarity model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altLang="zh-CN" sz="1300" kern="1200" dirty="0" smtClean="0"/>
            <a:t>measuring the local neighbourhood purity of every positive patient</a:t>
          </a:r>
          <a:endParaRPr lang="zh-CN" altLang="en-US" sz="1300" kern="1200" dirty="0"/>
        </a:p>
      </dsp:txBody>
      <dsp:txXfrm rot="-5400000">
        <a:off x="758428" y="1937972"/>
        <a:ext cx="5289362" cy="891158"/>
      </dsp:txXfrm>
    </dsp:sp>
    <dsp:sp modelId="{3154B5A4-BB2E-4D20-BB68-BEF08E261A1E}">
      <dsp:nvSpPr>
        <dsp:cNvPr id="0" name=""/>
        <dsp:cNvSpPr/>
      </dsp:nvSpPr>
      <dsp:spPr>
        <a:xfrm rot="5400000">
          <a:off x="-162520" y="3134599"/>
          <a:ext cx="1083468" cy="7584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Pay attention</a:t>
          </a:r>
          <a:endParaRPr lang="zh-CN" altLang="en-US" sz="1100" kern="1200" dirty="0"/>
        </a:p>
      </dsp:txBody>
      <dsp:txXfrm rot="-5400000">
        <a:off x="0" y="3351293"/>
        <a:ext cx="758428" cy="325040"/>
      </dsp:txXfrm>
    </dsp:sp>
    <dsp:sp modelId="{7A1A5CFF-3053-4EAE-8E18-63FF1007118E}">
      <dsp:nvSpPr>
        <dsp:cNvPr id="0" name=""/>
        <dsp:cNvSpPr/>
      </dsp:nvSpPr>
      <dsp:spPr>
        <a:xfrm rot="5400000">
          <a:off x="3075086" y="655420"/>
          <a:ext cx="704254" cy="533757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Split evaluation and validation folds,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 stratify samples according to the positive weights proportion</a:t>
          </a:r>
          <a:endParaRPr lang="zh-CN" altLang="en-US" sz="1300" kern="1200" dirty="0"/>
        </a:p>
      </dsp:txBody>
      <dsp:txXfrm rot="-5400000">
        <a:off x="758428" y="3006458"/>
        <a:ext cx="5303192" cy="6354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AEC7E5-F400-4BC8-BC9B-EE28CB83BBD2}">
      <dsp:nvSpPr>
        <dsp:cNvPr id="0" name=""/>
        <dsp:cNvSpPr/>
      </dsp:nvSpPr>
      <dsp:spPr>
        <a:xfrm rot="5400000">
          <a:off x="-236220" y="306354"/>
          <a:ext cx="129470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50" kern="1200" dirty="0" smtClean="0"/>
            <a:t>Build week learner pool</a:t>
          </a:r>
          <a:endParaRPr lang="zh-CN" altLang="en-US" sz="1050" kern="1200" dirty="0"/>
        </a:p>
      </dsp:txBody>
      <dsp:txXfrm rot="-5400000">
        <a:off x="0" y="70134"/>
        <a:ext cx="822268" cy="1294709"/>
      </dsp:txXfrm>
    </dsp:sp>
    <dsp:sp modelId="{70DBD3FE-1890-4C40-8EA8-D06FB16D5F7D}">
      <dsp:nvSpPr>
        <dsp:cNvPr id="0" name=""/>
        <dsp:cNvSpPr/>
      </dsp:nvSpPr>
      <dsp:spPr>
        <a:xfrm rot="5400000">
          <a:off x="2964413" y="-1847555"/>
          <a:ext cx="989442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andidate model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Parameter combination for grid search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logistic regression, lasso, RF, SVM</a:t>
          </a:r>
          <a:endParaRPr lang="zh-CN" altLang="en-US" sz="1300" kern="1200" dirty="0"/>
        </a:p>
      </dsp:txBody>
      <dsp:txXfrm rot="-5400000">
        <a:off x="822269" y="342890"/>
        <a:ext cx="5225430" cy="892840"/>
      </dsp:txXfrm>
    </dsp:sp>
    <dsp:sp modelId="{35A26F73-A859-411E-9C50-A011DC872A68}">
      <dsp:nvSpPr>
        <dsp:cNvPr id="0" name=""/>
        <dsp:cNvSpPr/>
      </dsp:nvSpPr>
      <dsp:spPr>
        <a:xfrm rot="5400000">
          <a:off x="-176200" y="1591166"/>
          <a:ext cx="1174669" cy="822268"/>
        </a:xfrm>
        <a:prstGeom prst="flowChart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Get performance on validation for all weak learners</a:t>
          </a:r>
          <a:endParaRPr lang="zh-CN" altLang="en-US" sz="1000" kern="1200" dirty="0"/>
        </a:p>
      </dsp:txBody>
      <dsp:txXfrm rot="-5400000">
        <a:off x="0" y="1414966"/>
        <a:ext cx="822268" cy="1174669"/>
      </dsp:txXfrm>
    </dsp:sp>
    <dsp:sp modelId="{91D08A21-0E4F-40A0-AA9F-F06585570E74}">
      <dsp:nvSpPr>
        <dsp:cNvPr id="0" name=""/>
        <dsp:cNvSpPr/>
      </dsp:nvSpPr>
      <dsp:spPr>
        <a:xfrm rot="5400000">
          <a:off x="2947351" y="-658688"/>
          <a:ext cx="1023564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ross validation for all weak lear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Apply the best parameters on validation data for all weak learners</a:t>
          </a:r>
          <a:endParaRPr lang="zh-CN" altLang="en-US" sz="1300" kern="1200" dirty="0"/>
        </a:p>
      </dsp:txBody>
      <dsp:txXfrm rot="-5400000">
        <a:off x="822268" y="1516361"/>
        <a:ext cx="5223765" cy="923632"/>
      </dsp:txXfrm>
    </dsp:sp>
    <dsp:sp modelId="{926FF2D3-1F2A-411B-BB8F-F481FFAE9C44}">
      <dsp:nvSpPr>
        <dsp:cNvPr id="0" name=""/>
        <dsp:cNvSpPr/>
      </dsp:nvSpPr>
      <dsp:spPr>
        <a:xfrm rot="5400000">
          <a:off x="-176200" y="2832940"/>
          <a:ext cx="117466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Get top winners</a:t>
          </a:r>
          <a:endParaRPr lang="zh-CN" altLang="en-US" sz="1200" kern="1200" dirty="0"/>
        </a:p>
      </dsp:txBody>
      <dsp:txXfrm rot="-5400000">
        <a:off x="0" y="2656740"/>
        <a:ext cx="822268" cy="1174669"/>
      </dsp:txXfrm>
    </dsp:sp>
    <dsp:sp modelId="{0D7677F1-A9CE-4FCE-A234-A65A7F479370}">
      <dsp:nvSpPr>
        <dsp:cNvPr id="0" name=""/>
        <dsp:cNvSpPr/>
      </dsp:nvSpPr>
      <dsp:spPr>
        <a:xfrm rot="5400000">
          <a:off x="2877393" y="592235"/>
          <a:ext cx="1163482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Several top win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weak leaners with top 5 precision values on targeting recall</a:t>
          </a:r>
          <a:endParaRPr lang="zh-CN" altLang="en-US" sz="1300" kern="1200" dirty="0"/>
        </a:p>
      </dsp:txBody>
      <dsp:txXfrm rot="-5400000">
        <a:off x="822269" y="2704157"/>
        <a:ext cx="5216934" cy="1049888"/>
      </dsp:txXfrm>
    </dsp:sp>
    <dsp:sp modelId="{87AC5A26-1852-4169-A333-D548B5F9FAB6}">
      <dsp:nvSpPr>
        <dsp:cNvPr id="0" name=""/>
        <dsp:cNvSpPr/>
      </dsp:nvSpPr>
      <dsp:spPr>
        <a:xfrm rot="5400000">
          <a:off x="-176200" y="4072482"/>
          <a:ext cx="117466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Get aggregate prediction on test data</a:t>
          </a:r>
          <a:endParaRPr lang="zh-CN" altLang="en-US" sz="1200" kern="1200" dirty="0"/>
        </a:p>
      </dsp:txBody>
      <dsp:txXfrm rot="-5400000">
        <a:off x="0" y="3896282"/>
        <a:ext cx="822268" cy="1174669"/>
      </dsp:txXfrm>
    </dsp:sp>
    <dsp:sp modelId="{F7ACA76D-9182-425E-AED7-D2EEE790D391}">
      <dsp:nvSpPr>
        <dsp:cNvPr id="0" name=""/>
        <dsp:cNvSpPr/>
      </dsp:nvSpPr>
      <dsp:spPr>
        <a:xfrm rot="5400000">
          <a:off x="2925507" y="1851592"/>
          <a:ext cx="1067254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Only use the top win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Train models on train + validation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Apply the models on the test data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Get aggregated prediction values across all winners</a:t>
          </a:r>
          <a:endParaRPr lang="zh-CN" altLang="en-US" sz="1300" kern="1200" dirty="0"/>
        </a:p>
      </dsp:txBody>
      <dsp:txXfrm rot="-5400000">
        <a:off x="822269" y="4006930"/>
        <a:ext cx="5221632" cy="9630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AEC7E5-F400-4BC8-BC9B-EE28CB83BBD2}">
      <dsp:nvSpPr>
        <dsp:cNvPr id="0" name=""/>
        <dsp:cNvSpPr/>
      </dsp:nvSpPr>
      <dsp:spPr>
        <a:xfrm rot="5400000">
          <a:off x="-236220" y="306354"/>
          <a:ext cx="129470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50" kern="1200" dirty="0" smtClean="0"/>
            <a:t>Build week learner pool</a:t>
          </a:r>
          <a:endParaRPr lang="zh-CN" altLang="en-US" sz="1050" kern="1200" dirty="0"/>
        </a:p>
      </dsp:txBody>
      <dsp:txXfrm rot="-5400000">
        <a:off x="0" y="70134"/>
        <a:ext cx="822268" cy="1294709"/>
      </dsp:txXfrm>
    </dsp:sp>
    <dsp:sp modelId="{70DBD3FE-1890-4C40-8EA8-D06FB16D5F7D}">
      <dsp:nvSpPr>
        <dsp:cNvPr id="0" name=""/>
        <dsp:cNvSpPr/>
      </dsp:nvSpPr>
      <dsp:spPr>
        <a:xfrm rot="5400000">
          <a:off x="2964413" y="-1847555"/>
          <a:ext cx="989442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andidate model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Parameter combination for grid search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logistic regression, lasso, RF, SVM</a:t>
          </a:r>
          <a:endParaRPr lang="zh-CN" altLang="en-US" sz="1300" kern="1200" dirty="0"/>
        </a:p>
      </dsp:txBody>
      <dsp:txXfrm rot="-5400000">
        <a:off x="822269" y="342890"/>
        <a:ext cx="5225430" cy="892840"/>
      </dsp:txXfrm>
    </dsp:sp>
    <dsp:sp modelId="{35A26F73-A859-411E-9C50-A011DC872A68}">
      <dsp:nvSpPr>
        <dsp:cNvPr id="0" name=""/>
        <dsp:cNvSpPr/>
      </dsp:nvSpPr>
      <dsp:spPr>
        <a:xfrm rot="5400000">
          <a:off x="-176200" y="1591166"/>
          <a:ext cx="1174669" cy="822268"/>
        </a:xfrm>
        <a:prstGeom prst="flowChart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kern="1200" dirty="0" smtClean="0"/>
            <a:t>Get performance on validation for all weak learners</a:t>
          </a:r>
          <a:endParaRPr lang="zh-CN" altLang="en-US" sz="1000" kern="1200" dirty="0"/>
        </a:p>
      </dsp:txBody>
      <dsp:txXfrm rot="-5400000">
        <a:off x="0" y="1414966"/>
        <a:ext cx="822268" cy="1174669"/>
      </dsp:txXfrm>
    </dsp:sp>
    <dsp:sp modelId="{91D08A21-0E4F-40A0-AA9F-F06585570E74}">
      <dsp:nvSpPr>
        <dsp:cNvPr id="0" name=""/>
        <dsp:cNvSpPr/>
      </dsp:nvSpPr>
      <dsp:spPr>
        <a:xfrm rot="5400000">
          <a:off x="2947351" y="-658688"/>
          <a:ext cx="1023564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ross validation for all weak lear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Apply the best parameters on validation data for all weak learners</a:t>
          </a:r>
          <a:endParaRPr lang="zh-CN" altLang="en-US" sz="1300" kern="1200" dirty="0"/>
        </a:p>
      </dsp:txBody>
      <dsp:txXfrm rot="-5400000">
        <a:off x="822268" y="1516361"/>
        <a:ext cx="5223765" cy="923632"/>
      </dsp:txXfrm>
    </dsp:sp>
    <dsp:sp modelId="{926FF2D3-1F2A-411B-BB8F-F481FFAE9C44}">
      <dsp:nvSpPr>
        <dsp:cNvPr id="0" name=""/>
        <dsp:cNvSpPr/>
      </dsp:nvSpPr>
      <dsp:spPr>
        <a:xfrm rot="5400000">
          <a:off x="-176200" y="2832940"/>
          <a:ext cx="117466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Get top winners</a:t>
          </a:r>
          <a:endParaRPr lang="zh-CN" altLang="en-US" sz="1200" kern="1200" dirty="0"/>
        </a:p>
      </dsp:txBody>
      <dsp:txXfrm rot="-5400000">
        <a:off x="0" y="2656740"/>
        <a:ext cx="822268" cy="1174669"/>
      </dsp:txXfrm>
    </dsp:sp>
    <dsp:sp modelId="{0D7677F1-A9CE-4FCE-A234-A65A7F479370}">
      <dsp:nvSpPr>
        <dsp:cNvPr id="0" name=""/>
        <dsp:cNvSpPr/>
      </dsp:nvSpPr>
      <dsp:spPr>
        <a:xfrm rot="5400000">
          <a:off x="2877393" y="592235"/>
          <a:ext cx="1163482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Several top win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e.g. weak leaners with top 5 precision values on targeting recall</a:t>
          </a:r>
          <a:endParaRPr lang="zh-CN" altLang="en-US" sz="1300" kern="1200" dirty="0"/>
        </a:p>
      </dsp:txBody>
      <dsp:txXfrm rot="-5400000">
        <a:off x="822269" y="2704157"/>
        <a:ext cx="5216934" cy="1049888"/>
      </dsp:txXfrm>
    </dsp:sp>
    <dsp:sp modelId="{87AC5A26-1852-4169-A333-D548B5F9FAB6}">
      <dsp:nvSpPr>
        <dsp:cNvPr id="0" name=""/>
        <dsp:cNvSpPr/>
      </dsp:nvSpPr>
      <dsp:spPr>
        <a:xfrm rot="5400000">
          <a:off x="-176200" y="4072482"/>
          <a:ext cx="1174669" cy="822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Get aggregate prediction on test data</a:t>
          </a:r>
          <a:endParaRPr lang="zh-CN" altLang="en-US" sz="1200" kern="1200" dirty="0"/>
        </a:p>
      </dsp:txBody>
      <dsp:txXfrm rot="-5400000">
        <a:off x="0" y="3896282"/>
        <a:ext cx="822268" cy="1174669"/>
      </dsp:txXfrm>
    </dsp:sp>
    <dsp:sp modelId="{F7ACA76D-9182-425E-AED7-D2EEE790D391}">
      <dsp:nvSpPr>
        <dsp:cNvPr id="0" name=""/>
        <dsp:cNvSpPr/>
      </dsp:nvSpPr>
      <dsp:spPr>
        <a:xfrm rot="5400000">
          <a:off x="2925507" y="1851592"/>
          <a:ext cx="1067254" cy="527373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Only use the top winner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Train models on train + validation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Apply the models on the test data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Get aggregated prediction values across all winners</a:t>
          </a:r>
          <a:endParaRPr lang="zh-CN" altLang="en-US" sz="1300" kern="1200" dirty="0"/>
        </a:p>
      </dsp:txBody>
      <dsp:txXfrm rot="-5400000">
        <a:off x="822269" y="4006930"/>
        <a:ext cx="5221632" cy="9630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4FE2FB-07B3-4AC0-8A9D-CB079A3D4848}">
      <dsp:nvSpPr>
        <dsp:cNvPr id="0" name=""/>
        <dsp:cNvSpPr/>
      </dsp:nvSpPr>
      <dsp:spPr>
        <a:xfrm rot="5400000">
          <a:off x="-250543" y="252851"/>
          <a:ext cx="1670290" cy="11692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Primary objective</a:t>
          </a:r>
          <a:endParaRPr lang="zh-CN" altLang="en-US" sz="1500" kern="1200" dirty="0"/>
        </a:p>
      </dsp:txBody>
      <dsp:txXfrm rot="-5400000">
        <a:off x="1" y="586910"/>
        <a:ext cx="1169203" cy="501087"/>
      </dsp:txXfrm>
    </dsp:sp>
    <dsp:sp modelId="{F1A5ED9C-C059-42B3-9A70-2F53D43EF04E}">
      <dsp:nvSpPr>
        <dsp:cNvPr id="0" name=""/>
        <dsp:cNvSpPr/>
      </dsp:nvSpPr>
      <dsp:spPr>
        <a:xfrm rot="5400000">
          <a:off x="3089757" y="-1918246"/>
          <a:ext cx="1085688" cy="492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700" kern="1200" dirty="0" smtClean="0"/>
            <a:t>To estimate the overall probability of relapse over a twelve-month period</a:t>
          </a:r>
          <a:endParaRPr lang="zh-CN" altLang="en-US" sz="1700" kern="1200" dirty="0"/>
        </a:p>
      </dsp:txBody>
      <dsp:txXfrm rot="-5400000">
        <a:off x="1169204" y="55306"/>
        <a:ext cx="4873797" cy="979690"/>
      </dsp:txXfrm>
    </dsp:sp>
    <dsp:sp modelId="{07882A5D-91C4-45F6-A807-C021A65B3F3A}">
      <dsp:nvSpPr>
        <dsp:cNvPr id="0" name=""/>
        <dsp:cNvSpPr/>
      </dsp:nvSpPr>
      <dsp:spPr>
        <a:xfrm rot="5400000">
          <a:off x="-250543" y="1729846"/>
          <a:ext cx="1670290" cy="11692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secondary objective</a:t>
          </a:r>
          <a:endParaRPr lang="zh-CN" altLang="en-US" sz="1500" kern="1200" dirty="0"/>
        </a:p>
      </dsp:txBody>
      <dsp:txXfrm rot="-5400000">
        <a:off x="1" y="2063905"/>
        <a:ext cx="1169203" cy="501087"/>
      </dsp:txXfrm>
    </dsp:sp>
    <dsp:sp modelId="{E64E4A6B-E1C3-496B-A6DB-E179C27A6EAB}">
      <dsp:nvSpPr>
        <dsp:cNvPr id="0" name=""/>
        <dsp:cNvSpPr/>
      </dsp:nvSpPr>
      <dsp:spPr>
        <a:xfrm rot="5400000">
          <a:off x="3089757" y="-441251"/>
          <a:ext cx="1085688" cy="492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700" kern="1200" dirty="0" smtClean="0"/>
            <a:t>To produce predictions of disease activity and progression over a twelve-month period as defined by a number of outcome measures</a:t>
          </a:r>
          <a:endParaRPr lang="zh-CN" altLang="en-US" sz="1700" kern="1200" dirty="0"/>
        </a:p>
      </dsp:txBody>
      <dsp:txXfrm rot="-5400000">
        <a:off x="1169204" y="1532301"/>
        <a:ext cx="4873797" cy="979690"/>
      </dsp:txXfrm>
    </dsp:sp>
    <dsp:sp modelId="{3F0A6A85-0FBC-4944-AD80-480F7DF92A61}">
      <dsp:nvSpPr>
        <dsp:cNvPr id="0" name=""/>
        <dsp:cNvSpPr/>
      </dsp:nvSpPr>
      <dsp:spPr>
        <a:xfrm rot="5400000">
          <a:off x="-250543" y="3206841"/>
          <a:ext cx="1670290" cy="11692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500" kern="1200" dirty="0" smtClean="0"/>
            <a:t>exploratory objective</a:t>
          </a:r>
          <a:endParaRPr lang="zh-CN" altLang="en-US" sz="1500" kern="1200" dirty="0"/>
        </a:p>
      </dsp:txBody>
      <dsp:txXfrm rot="-5400000">
        <a:off x="1" y="3540900"/>
        <a:ext cx="1169203" cy="501087"/>
      </dsp:txXfrm>
    </dsp:sp>
    <dsp:sp modelId="{5416930C-E71F-4916-838E-D7DDCE9C827E}">
      <dsp:nvSpPr>
        <dsp:cNvPr id="0" name=""/>
        <dsp:cNvSpPr/>
      </dsp:nvSpPr>
      <dsp:spPr>
        <a:xfrm rot="5400000">
          <a:off x="3089757" y="1035744"/>
          <a:ext cx="1085688" cy="492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700" kern="1200" dirty="0" smtClean="0"/>
            <a:t>To produce predictions using advanced machine learning methods to compare these with baseline estimates using penalized multiple logistic regressions</a:t>
          </a:r>
          <a:endParaRPr lang="zh-CN" altLang="en-US" sz="1700" kern="1200" dirty="0"/>
        </a:p>
      </dsp:txBody>
      <dsp:txXfrm rot="-5400000">
        <a:off x="1169204" y="3009297"/>
        <a:ext cx="4873797" cy="9796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CE28F7-B338-4C61-B064-22C38FA18B42}">
      <dsp:nvSpPr>
        <dsp:cNvPr id="0" name=""/>
        <dsp:cNvSpPr/>
      </dsp:nvSpPr>
      <dsp:spPr>
        <a:xfrm>
          <a:off x="0" y="1642628"/>
          <a:ext cx="8380665" cy="4677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6238" tIns="229108" rIns="806238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e.g. age </a:t>
          </a:r>
          <a:r>
            <a:rPr lang="en-US" altLang="zh-CN" sz="1100" kern="1200" dirty="0" smtClean="0">
              <a:sym typeface="Wingdings" panose="05000000000000000000" pitchFamily="2" charset="2"/>
            </a:rPr>
            <a:t> age__le30, age__31to40, age__41to50, age__ge51, </a:t>
          </a:r>
          <a:endParaRPr lang="zh-CN" altLang="en-US" sz="1100" kern="1200" dirty="0"/>
        </a:p>
      </dsp:txBody>
      <dsp:txXfrm>
        <a:off x="0" y="1642628"/>
        <a:ext cx="8380665" cy="467775"/>
      </dsp:txXfrm>
    </dsp:sp>
    <dsp:sp modelId="{004B6CD2-7A12-4C0C-9F5E-D8DB8BD1681F}">
      <dsp:nvSpPr>
        <dsp:cNvPr id="0" name=""/>
        <dsp:cNvSpPr/>
      </dsp:nvSpPr>
      <dsp:spPr>
        <a:xfrm>
          <a:off x="519409" y="1425939"/>
          <a:ext cx="4007012" cy="37904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4854" tIns="0" rIns="274854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Cut the continuous variables into buckets</a:t>
          </a:r>
          <a:endParaRPr lang="zh-CN" altLang="en-US" sz="1100" kern="1200" dirty="0"/>
        </a:p>
      </dsp:txBody>
      <dsp:txXfrm>
        <a:off x="537913" y="1444443"/>
        <a:ext cx="3970004" cy="342040"/>
      </dsp:txXfrm>
    </dsp:sp>
    <dsp:sp modelId="{8D1B2AED-9A79-43C1-B921-6BFF6DFEBD38}">
      <dsp:nvSpPr>
        <dsp:cNvPr id="0" name=""/>
        <dsp:cNvSpPr/>
      </dsp:nvSpPr>
      <dsp:spPr>
        <a:xfrm>
          <a:off x="0" y="2367009"/>
          <a:ext cx="8583754" cy="1940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6238" tIns="229108" rIns="806238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For those variables whose levels have </a:t>
          </a:r>
          <a:r>
            <a:rPr lang="en-US" altLang="zh-CN" sz="1100" kern="1200" smtClean="0"/>
            <a:t>ordinal relationship, merge small levels in categorical variables into 1 level with order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(e.g. </a:t>
          </a:r>
          <a:r>
            <a:rPr lang="en-US" altLang="zh-CN" sz="1100" kern="1200" dirty="0" err="1" smtClean="0"/>
            <a:t>edss_score</a:t>
          </a:r>
          <a:r>
            <a:rPr lang="en-US" altLang="zh-CN" sz="1100" kern="1200" dirty="0" smtClean="0">
              <a:sym typeface="Wingdings" panose="05000000000000000000" pitchFamily="2" charset="2"/>
            </a:rPr>
            <a:t> baseline_edss_score__0_1, 											baseline_edss_score__1d5_2, </a:t>
          </a:r>
          <a:r>
            <a:rPr lang="en-US" altLang="zh-CN" sz="1100" kern="1200" dirty="0" smtClean="0"/>
            <a:t>										baseline_edss_score__ge2d5)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For those variables whose levels have no ordinal relationship, merge small levels in categorical variables into 1 level without order</a:t>
          </a:r>
          <a:endParaRPr lang="zh-CN" alt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100" kern="1200" dirty="0" smtClean="0"/>
            <a:t>(e.g. </a:t>
          </a:r>
          <a:r>
            <a:rPr lang="en-US" altLang="zh-CN" sz="1100" kern="1200" dirty="0" err="1" smtClean="0"/>
            <a:t>birth_region</a:t>
          </a:r>
          <a:r>
            <a:rPr lang="en-US" altLang="zh-CN" sz="1100" kern="1200" dirty="0" smtClean="0"/>
            <a:t> </a:t>
          </a:r>
          <a:r>
            <a:rPr lang="en-US" altLang="zh-CN" sz="1100" kern="1200" dirty="0" smtClean="0">
              <a:sym typeface="Wingdings" panose="05000000000000000000" pitchFamily="2" charset="2"/>
            </a:rPr>
            <a:t> birth_region__</a:t>
          </a:r>
          <a:r>
            <a:rPr lang="en-US" altLang="zh-CN" sz="1100" kern="1200" dirty="0" err="1" smtClean="0">
              <a:sym typeface="Wingdings" panose="05000000000000000000" pitchFamily="2" charset="2"/>
            </a:rPr>
            <a:t>Central_Europe</a:t>
          </a:r>
          <a:r>
            <a:rPr lang="en-US" altLang="zh-CN" sz="1100" kern="1200" dirty="0" smtClean="0">
              <a:sym typeface="Wingdings" panose="05000000000000000000" pitchFamily="2" charset="2"/>
            </a:rPr>
            <a:t>, 										</a:t>
          </a:r>
          <a:r>
            <a:rPr lang="en-US" altLang="zh-CN" sz="1100" kern="1200" dirty="0" err="1" smtClean="0">
              <a:sym typeface="Wingdings" panose="05000000000000000000" pitchFamily="2" charset="2"/>
            </a:rPr>
            <a:t>birth_region__missing</a:t>
          </a:r>
          <a:r>
            <a:rPr lang="en-US" altLang="zh-CN" sz="1100" kern="1200" dirty="0" smtClean="0">
              <a:sym typeface="Wingdings" panose="05000000000000000000" pitchFamily="2" charset="2"/>
            </a:rPr>
            <a:t>, </a:t>
          </a:r>
          <a:r>
            <a:rPr lang="en-US" altLang="zh-CN" sz="1100" kern="1200" dirty="0" smtClean="0"/>
            <a:t>											</a:t>
          </a:r>
          <a:r>
            <a:rPr lang="en-US" altLang="zh-CN" sz="1100" kern="1200" dirty="0" err="1" smtClean="0"/>
            <a:t>birth_region__others</a:t>
          </a:r>
          <a:r>
            <a:rPr lang="en-US" altLang="zh-CN" sz="1100" kern="1200" dirty="0" smtClean="0"/>
            <a:t>)</a:t>
          </a:r>
          <a:endParaRPr lang="zh-CN" altLang="en-US" sz="1100" kern="1200" dirty="0"/>
        </a:p>
      </dsp:txBody>
      <dsp:txXfrm>
        <a:off x="0" y="2367009"/>
        <a:ext cx="8583754" cy="1940400"/>
      </dsp:txXfrm>
    </dsp:sp>
    <dsp:sp modelId="{DC7BAD95-B9E5-42F9-B717-E02FBC387C8D}">
      <dsp:nvSpPr>
        <dsp:cNvPr id="0" name=""/>
        <dsp:cNvSpPr/>
      </dsp:nvSpPr>
      <dsp:spPr>
        <a:xfrm>
          <a:off x="519409" y="2169803"/>
          <a:ext cx="3578417" cy="3595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4854" tIns="0" rIns="274854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For categorical variables</a:t>
          </a:r>
          <a:endParaRPr lang="zh-CN" altLang="en-US" sz="1100" kern="1200" dirty="0"/>
        </a:p>
      </dsp:txBody>
      <dsp:txXfrm>
        <a:off x="536962" y="2187356"/>
        <a:ext cx="3543311" cy="324459"/>
      </dsp:txXfrm>
    </dsp:sp>
    <dsp:sp modelId="{D890D955-2929-4315-9A18-B8C6AA659BDE}">
      <dsp:nvSpPr>
        <dsp:cNvPr id="0" name=""/>
        <dsp:cNvSpPr/>
      </dsp:nvSpPr>
      <dsp:spPr>
        <a:xfrm>
          <a:off x="0" y="4542190"/>
          <a:ext cx="5921887" cy="24797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6238" tIns="229108" rIns="806238" bIns="78232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1100" kern="1200" dirty="0"/>
        </a:p>
      </dsp:txBody>
      <dsp:txXfrm>
        <a:off x="0" y="4542190"/>
        <a:ext cx="5921887" cy="247977"/>
      </dsp:txXfrm>
    </dsp:sp>
    <dsp:sp modelId="{81361FA1-B880-4F7E-AD2B-ADF45D9FA494}">
      <dsp:nvSpPr>
        <dsp:cNvPr id="0" name=""/>
        <dsp:cNvSpPr/>
      </dsp:nvSpPr>
      <dsp:spPr>
        <a:xfrm>
          <a:off x="519409" y="4366809"/>
          <a:ext cx="5698780" cy="33774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4854" tIns="0" rIns="274854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Convert categorical and numeric variables to dummy variables</a:t>
          </a:r>
          <a:endParaRPr lang="zh-CN" altLang="en-US" sz="1100" kern="1200" dirty="0"/>
        </a:p>
      </dsp:txBody>
      <dsp:txXfrm>
        <a:off x="535896" y="4383296"/>
        <a:ext cx="5665806" cy="304767"/>
      </dsp:txXfrm>
    </dsp:sp>
    <dsp:sp modelId="{678A4E80-C570-4841-BB34-4C2246977647}">
      <dsp:nvSpPr>
        <dsp:cNvPr id="0" name=""/>
        <dsp:cNvSpPr/>
      </dsp:nvSpPr>
      <dsp:spPr>
        <a:xfrm>
          <a:off x="0" y="5011928"/>
          <a:ext cx="7320447" cy="2555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4304C5-9756-4317-9924-C641F600D992}">
      <dsp:nvSpPr>
        <dsp:cNvPr id="0" name=""/>
        <dsp:cNvSpPr/>
      </dsp:nvSpPr>
      <dsp:spPr>
        <a:xfrm>
          <a:off x="519409" y="4849568"/>
          <a:ext cx="7271727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4854" tIns="0" rIns="274854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kern="1200" dirty="0" smtClean="0"/>
            <a:t>Some adjustment according to client’s requirement for the variables included in modeling</a:t>
          </a:r>
          <a:endParaRPr lang="zh-CN" altLang="en-US" sz="1100" kern="1200" dirty="0"/>
        </a:p>
      </dsp:txBody>
      <dsp:txXfrm>
        <a:off x="535261" y="4865420"/>
        <a:ext cx="7240023" cy="29301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7FF637-2051-4CEA-A3D9-453148B72C2A}">
      <dsp:nvSpPr>
        <dsp:cNvPr id="0" name=""/>
        <dsp:cNvSpPr/>
      </dsp:nvSpPr>
      <dsp:spPr>
        <a:xfrm>
          <a:off x="0" y="888469"/>
          <a:ext cx="8488490" cy="98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8801" tIns="270764" rIns="658801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Simple explanation about elastic-net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ROC curve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oefficient of all the alpha in each evaluation folder</a:t>
          </a:r>
          <a:endParaRPr lang="zh-CN" altLang="en-US" sz="1300" kern="1200" dirty="0"/>
        </a:p>
      </dsp:txBody>
      <dsp:txXfrm>
        <a:off x="0" y="888469"/>
        <a:ext cx="8488490" cy="982800"/>
      </dsp:txXfrm>
    </dsp:sp>
    <dsp:sp modelId="{0ED49763-B885-4D2A-8819-90ED1E0F2669}">
      <dsp:nvSpPr>
        <dsp:cNvPr id="0" name=""/>
        <dsp:cNvSpPr/>
      </dsp:nvSpPr>
      <dsp:spPr>
        <a:xfrm>
          <a:off x="424424" y="660455"/>
          <a:ext cx="5950439" cy="43062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4591" tIns="0" rIns="22459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Elastic-net with all the base variables</a:t>
          </a:r>
          <a:endParaRPr lang="zh-CN" altLang="en-US" sz="1300" kern="1200" dirty="0"/>
        </a:p>
      </dsp:txBody>
      <dsp:txXfrm>
        <a:off x="445446" y="681477"/>
        <a:ext cx="5908395" cy="388584"/>
      </dsp:txXfrm>
    </dsp:sp>
    <dsp:sp modelId="{32FAF41E-692B-4A30-87CD-83F7B6660CF3}">
      <dsp:nvSpPr>
        <dsp:cNvPr id="0" name=""/>
        <dsp:cNvSpPr/>
      </dsp:nvSpPr>
      <dsp:spPr>
        <a:xfrm>
          <a:off x="0" y="2202043"/>
          <a:ext cx="8488490" cy="1146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8801" tIns="270764" rIns="658801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How to get the importance score of variables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Get the covariate rank according to the absolute coefficient in each alpha of each folder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Average all the rank in all alphas of all folders</a:t>
          </a:r>
          <a:endParaRPr lang="zh-CN" altLang="en-US" sz="1300" kern="1200" dirty="0"/>
        </a:p>
      </dsp:txBody>
      <dsp:txXfrm>
        <a:off x="0" y="2202043"/>
        <a:ext cx="8488490" cy="1146600"/>
      </dsp:txXfrm>
    </dsp:sp>
    <dsp:sp modelId="{C84902B8-B23B-4298-A2A0-C294A53E7FE7}">
      <dsp:nvSpPr>
        <dsp:cNvPr id="0" name=""/>
        <dsp:cNvSpPr/>
      </dsp:nvSpPr>
      <dsp:spPr>
        <a:xfrm>
          <a:off x="424424" y="1952204"/>
          <a:ext cx="7274661" cy="4417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4591" tIns="0" rIns="22459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Elastic-net with the top 10 important variables</a:t>
          </a:r>
          <a:endParaRPr lang="zh-CN" altLang="en-US" sz="1300" kern="1200" dirty="0"/>
        </a:p>
      </dsp:txBody>
      <dsp:txXfrm>
        <a:off x="445987" y="1973767"/>
        <a:ext cx="7231535" cy="398593"/>
      </dsp:txXfrm>
    </dsp:sp>
    <dsp:sp modelId="{B36D0650-41A8-4AAF-9E57-CB06F087B0EF}">
      <dsp:nvSpPr>
        <dsp:cNvPr id="0" name=""/>
        <dsp:cNvSpPr/>
      </dsp:nvSpPr>
      <dsp:spPr>
        <a:xfrm>
          <a:off x="0" y="3611617"/>
          <a:ext cx="8488490" cy="7575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8801" tIns="270764" rIns="658801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ROC curve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300" kern="1200" dirty="0" smtClean="0"/>
            <a:t>Coefficient estimate and CI</a:t>
          </a:r>
          <a:endParaRPr lang="zh-CN" altLang="en-US" sz="1300" kern="1200" dirty="0"/>
        </a:p>
      </dsp:txBody>
      <dsp:txXfrm>
        <a:off x="0" y="3611617"/>
        <a:ext cx="8488490" cy="757575"/>
      </dsp:txXfrm>
    </dsp:sp>
    <dsp:sp modelId="{4F40F7C5-D85E-48F9-976C-51E01CD85B5D}">
      <dsp:nvSpPr>
        <dsp:cNvPr id="0" name=""/>
        <dsp:cNvSpPr/>
      </dsp:nvSpPr>
      <dsp:spPr>
        <a:xfrm>
          <a:off x="424424" y="3418843"/>
          <a:ext cx="8013126" cy="3846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4591" tIns="0" rIns="22459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300" kern="1200" dirty="0" smtClean="0"/>
            <a:t>Standard logistic regression with the top 10 important variables</a:t>
          </a:r>
          <a:endParaRPr lang="zh-CN" altLang="en-US" sz="1300" kern="1200" dirty="0"/>
        </a:p>
      </dsp:txBody>
      <dsp:txXfrm>
        <a:off x="443201" y="3437620"/>
        <a:ext cx="7975572" cy="3471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818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2E57F-2F33-4E95-833C-6DE92AD23B45}" type="datetimeFigureOut">
              <a:rPr lang="en-US"/>
              <a:pPr/>
              <a:t>3/3/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818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65A410-77E2-40EA-8701-9B225C64A9E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9142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818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D7382CE9-F2D0-4D2E-B7F9-BF3E83248BCE}" type="datetimeFigureOut">
              <a:rPr lang="en-US" smtClean="0"/>
              <a:pPr/>
              <a:t>3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22837" cy="3694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307" y="4680466"/>
            <a:ext cx="5378450" cy="44341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818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A3691C38-742D-4867-9E00-215CBC0233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081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en-US" smtClean="0">
                <a:cs typeface="Arial"/>
              </a:rPr>
              <a:pPr/>
              <a:t>1</a:t>
            </a:fld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4393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2995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082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2696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8773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7BE198-D19E-4232-AB09-5DD537C4037F}" type="slidenum">
              <a:rPr lang="en-US" smtClean="0">
                <a:solidFill>
                  <a:prstClr val="black"/>
                </a:solidFill>
                <a:cs typeface="Arial"/>
              </a:rPr>
              <a:pPr/>
              <a:t>15</a:t>
            </a:fld>
            <a:endParaRPr lang="en-US" dirty="0">
              <a:solidFill>
                <a:prstClr val="black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01936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3375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4235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097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7529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368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7BE198-D19E-4232-AB09-5DD537C4037F}" type="slidenum">
              <a:rPr lang="en-US" smtClean="0">
                <a:solidFill>
                  <a:prstClr val="black"/>
                </a:solidFill>
                <a:cs typeface="Arial"/>
              </a:rPr>
              <a:pPr/>
              <a:t>2</a:t>
            </a:fld>
            <a:endParaRPr lang="en-US" dirty="0">
              <a:solidFill>
                <a:prstClr val="black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82361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3623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2186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84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362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1119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9912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641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4571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9686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486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5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4" descr="IMS_Health_PPT_cover_revised_final.jpg"/>
          <p:cNvPicPr>
            <a:picLocks noChangeAspect="1"/>
          </p:cNvPicPr>
          <p:nvPr userDrawn="1"/>
        </p:nvPicPr>
        <p:blipFill>
          <a:blip r:embed="rId6" cstate="print"/>
          <a:srcRect l="12901" t="2299" r="37731" b="18835"/>
          <a:stretch>
            <a:fillRect/>
          </a:stretch>
        </p:blipFill>
        <p:spPr>
          <a:xfrm>
            <a:off x="3721100" y="3175"/>
            <a:ext cx="5422900" cy="5773271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Name</a:t>
            </a:r>
            <a:endParaRPr lang="en-US" dirty="0" smtClean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699"/>
            <a:ext cx="5697126" cy="373063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Title</a:t>
            </a:r>
            <a:endParaRPr lang="en-US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Date</a:t>
            </a:r>
            <a:endParaRPr lang="en-US" dirty="0"/>
          </a:p>
        </p:txBody>
      </p:sp>
      <p:sp>
        <p:nvSpPr>
          <p:cNvPr id="20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pic>
        <p:nvPicPr>
          <p:cNvPr id="15" name="Picture 3" descr="Z:\Departments\Creative Services &amp; Copy Shop\Intern\Corp.Design\Brand Evolution_2015\Logo\IMS Logo RGB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52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6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4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e Spalt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5" t="29638" r="57232" b="17311"/>
          <a:stretch/>
        </p:blipFill>
        <p:spPr>
          <a:xfrm>
            <a:off x="4119154" y="0"/>
            <a:ext cx="5024846" cy="5939821"/>
          </a:xfrm>
          <a:prstGeom prst="rect">
            <a:avLst/>
          </a:prstGeom>
        </p:spPr>
      </p:pic>
      <p:sp>
        <p:nvSpPr>
          <p:cNvPr id="12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Name</a:t>
            </a:r>
            <a:endParaRPr lang="en-US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569712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Title</a:t>
            </a:r>
            <a:endParaRPr lang="en-US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Date</a:t>
            </a:r>
            <a:endParaRPr lang="en-US" dirty="0"/>
          </a:p>
        </p:txBody>
      </p:sp>
      <p:pic>
        <p:nvPicPr>
          <p:cNvPr id="16" name="Picture 3" descr="Z:\Departments\Creative Services &amp; Copy Shop\Intern\Corp.Design\Brand Evolution_2015\Logo\IMS Logo RGB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52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/>
          <a:p>
            <a:pPr lvl="0"/>
            <a:r>
              <a:rPr lang="en-US" noProof="0" smtClean="0"/>
              <a:t>Tabelle durch Klicken auf Symbol hinzufügen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5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/>
          <a:p>
            <a:pPr lvl="0"/>
            <a:r>
              <a:rPr lang="en-US" noProof="0" smtClean="0"/>
              <a:t>Tabelle durch Klicken auf Symbol hinzufügen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5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 - ohn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500064" y="935039"/>
            <a:ext cx="8281986" cy="23006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500062" y="3249497"/>
            <a:ext cx="828198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latin typeface="Arial"/>
              <a:cs typeface="Arial"/>
              <a:sym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828198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Name</a:t>
            </a:r>
            <a:endParaRPr lang="en-US" dirty="0" smtClean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828198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Tit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2" y="5198700"/>
            <a:ext cx="8281987" cy="50308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noProof="0" smtClean="0"/>
              <a:t>Date</a:t>
            </a:r>
            <a:endParaRPr lang="en-US" noProof="0"/>
          </a:p>
        </p:txBody>
      </p:sp>
      <p:sp>
        <p:nvSpPr>
          <p:cNvPr id="13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pic>
        <p:nvPicPr>
          <p:cNvPr id="17" name="Picture 3" descr="Z:\Departments\Creative Services &amp; Copy Shop\Intern\Corp.Design\Brand Evolution_2015\Logo\IMS Logo RGB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52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39"/>
            <a:ext cx="5112054" cy="450271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612771"/>
            <a:ext cx="2700858" cy="4489579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cxnSp>
        <p:nvCxnSpPr>
          <p:cNvPr id="11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graphicFrame>
        <p:nvGraphicFramePr>
          <p:cNvPr id="7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9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graphicFrame>
        <p:nvGraphicFramePr>
          <p:cNvPr id="7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3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1"/>
            <a:ext cx="8280400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238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16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0063" y="1089025"/>
            <a:ext cx="8281987" cy="523776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15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0063" y="1611313"/>
            <a:ext cx="8281987" cy="4491037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iagramm durch Klicken auf Symbol hinzufügen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Textmasterformate durch Klicken bearbeiten</a:t>
            </a:r>
            <a:endParaRPr lang="en-US" noProof="0" dirty="0" smtClean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13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1987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500063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iagramm durch Klicken auf Symbol hinzufügen</a:t>
            </a:r>
            <a:endParaRPr lang="en-US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690138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iagramm durch Klicken auf Symbol hinzufügen</a:t>
            </a:r>
            <a:endParaRPr lang="en-US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500063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iagramm durch Klicken auf Symbol hinzufügen</a:t>
            </a:r>
            <a:endParaRPr lang="en-US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690138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iagramm durch Klicken auf Symbol hinzufügen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Textmasterformate durch Klicken bearbeiten</a:t>
            </a:r>
            <a:endParaRPr lang="en-US" noProof="0" dirty="0" smtClean="0"/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20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2050" y="1611312"/>
            <a:ext cx="8280000" cy="4491038"/>
          </a:xfrm>
          <a:solidFill>
            <a:schemeClr val="accent6"/>
          </a:solidFill>
        </p:spPr>
        <p:txBody>
          <a:bodyPr lIns="144000" tIns="144000" rIns="144000" bIns="144000"/>
          <a:lstStyle>
            <a:lvl1pPr rtl="0">
              <a:buClr>
                <a:schemeClr val="bg2"/>
              </a:buClr>
              <a:defRPr sz="2000"/>
            </a:lvl1pPr>
            <a:lvl2pPr rtl="0"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rtl="0"/>
            <a:r>
              <a:rPr lang="en-US" smtClean="0"/>
              <a:t>Klicken Sie um die Textstile zu bearbeiten</a:t>
            </a:r>
          </a:p>
          <a:p>
            <a:pPr lvl="1" rtl="0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2050" y="1089025"/>
            <a:ext cx="8280000" cy="5222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Textmasterformate durch Klicken bearbeiten</a:t>
            </a:r>
            <a:endParaRPr lang="en-US" noProof="0" dirty="0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11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2" y="1611314"/>
            <a:ext cx="8281988" cy="162538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Abschnittsfolie</a:t>
            </a:r>
            <a:endParaRPr lang="en-US" dirty="0" smtClean="0"/>
          </a:p>
        </p:txBody>
      </p:sp>
      <p:sp>
        <p:nvSpPr>
          <p:cNvPr id="9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pic>
        <p:nvPicPr>
          <p:cNvPr id="7" name="Picture 3" descr="Z:\Departments\Creative Services &amp; Copy Shop\Intern\Corp.Design\Brand Evolution_2015\Logo\IMS Logo RGB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52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8226425" cy="8366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4025" y="981075"/>
            <a:ext cx="8221663" cy="6477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69C0C9"/>
                </a:solidFill>
              </a:defRPr>
            </a:lvl1pPr>
          </a:lstStyle>
          <a:p>
            <a:pPr lvl="0"/>
            <a:r>
              <a:rPr lang="en-US" noProof="0" smtClean="0"/>
              <a:t>Textmasterformate durch Klicken bearbeiten</a:t>
            </a:r>
            <a:endParaRPr lang="en-US" noProof="0" dirty="0" smtClean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8"/>
          <p:cNvSpPr txBox="1"/>
          <p:nvPr/>
        </p:nvSpPr>
        <p:spPr>
          <a:xfrm>
            <a:off x="147638" y="6427788"/>
            <a:ext cx="215900" cy="2921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buFont typeface="Arial"/>
              <a:buNone/>
              <a:defRPr/>
            </a:pPr>
            <a:fld id="{558E5EAA-5929-47E4-951A-DB9CA0B5DB62}" type="slidenum">
              <a:rPr lang="en-US" sz="950">
                <a:solidFill>
                  <a:schemeClr val="bg2">
                    <a:lumMod val="90000"/>
                  </a:schemeClr>
                </a:solidFill>
                <a:latin typeface="Arial" charset="0"/>
                <a:cs typeface="+mn-cs"/>
              </a:rPr>
              <a:pPr algn="ctr">
                <a:buFont typeface="Arial"/>
                <a:buNone/>
                <a:defRPr/>
              </a:pPr>
              <a:t>‹#›</a:t>
            </a:fld>
            <a:endParaRPr lang="en-US" sz="950" dirty="0">
              <a:solidFill>
                <a:schemeClr val="bg2">
                  <a:lumMod val="90000"/>
                </a:schemeClr>
              </a:solidFill>
              <a:latin typeface="Arial" charset="0"/>
              <a:cs typeface="+mn-cs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>
            <a:off x="455613" y="6353175"/>
            <a:ext cx="0" cy="295275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9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77013" y="6394450"/>
            <a:ext cx="2105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14"/>
          <p:cNvCxnSpPr/>
          <p:nvPr/>
        </p:nvCxnSpPr>
        <p:spPr>
          <a:xfrm>
            <a:off x="457200" y="1000125"/>
            <a:ext cx="82296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https://ak3.boxcdn.net/cdn/farfuture/W66q4K_PBfSkt5dErVB8miyDXNykqC-xd7Rz-BLMzqc/md5:5e805b06cdd9a3ff538e831b67955085/sites/default/files/AstraZeneca-Logo-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45050" y="6299200"/>
            <a:ext cx="160178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8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291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Object 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8"/>
          <p:cNvSpPr txBox="1"/>
          <p:nvPr userDrawn="1"/>
        </p:nvSpPr>
        <p:spPr>
          <a:xfrm>
            <a:off x="147638" y="6427788"/>
            <a:ext cx="215900" cy="2921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buFont typeface="Arial"/>
              <a:buNone/>
              <a:defRPr/>
            </a:pPr>
            <a:fld id="{35976173-BE2A-4BEF-A1E0-C3295F3C5744}" type="slidenum">
              <a:rPr lang="en-US" sz="950">
                <a:solidFill>
                  <a:schemeClr val="bg2">
                    <a:lumMod val="90000"/>
                  </a:schemeClr>
                </a:solidFill>
                <a:latin typeface="Arial" charset="0"/>
                <a:cs typeface="+mn-cs"/>
              </a:rPr>
              <a:pPr algn="ctr">
                <a:buFont typeface="Arial"/>
                <a:buNone/>
                <a:defRPr/>
              </a:pPr>
              <a:t>‹#›</a:t>
            </a:fld>
            <a:endParaRPr lang="en-US" sz="950" dirty="0">
              <a:solidFill>
                <a:schemeClr val="bg2">
                  <a:lumMod val="90000"/>
                </a:schemeClr>
              </a:solidFill>
              <a:latin typeface="Arial" charset="0"/>
              <a:cs typeface="+mn-cs"/>
            </a:endParaRPr>
          </a:p>
        </p:txBody>
      </p:sp>
      <p:cxnSp>
        <p:nvCxnSpPr>
          <p:cNvPr id="12" name="Straight Connector 10"/>
          <p:cNvCxnSpPr/>
          <p:nvPr userDrawn="1"/>
        </p:nvCxnSpPr>
        <p:spPr>
          <a:xfrm>
            <a:off x="455613" y="6353175"/>
            <a:ext cx="0" cy="295275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ttps://ak3.boxcdn.net/cdn/farfuture/W66q4K_PBfSkt5dErVB8miyDXNykqC-xd7Rz-BLMzqc/md5:5e805b06cdd9a3ff538e831b67955085/sites/default/files/AstraZeneca-Logo-1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45050" y="6299200"/>
            <a:ext cx="160178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75203"/>
            <a:ext cx="8229600" cy="849228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4" name="Fußzeilenplatzhalter 2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pPr>
              <a:defRPr/>
            </a:pPr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5" name="Datumsplatzhalter 23"/>
          <p:cNvSpPr>
            <a:spLocks noGrp="1"/>
          </p:cNvSpPr>
          <p:nvPr>
            <p:ph type="dt" sz="quarter" idx="11"/>
          </p:nvPr>
        </p:nvSpPr>
        <p:spPr>
          <a:xfrm>
            <a:off x="481013" y="6492875"/>
            <a:ext cx="6629400" cy="136525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with Bullets and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452562"/>
            <a:ext cx="8229600" cy="472744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2pPr>
            <a:lvl3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3pPr>
            <a:lvl4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4pPr>
            <a:lvl5pPr indent="-210312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defRPr kumimoji="0" lang="en-I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043624"/>
            <a:ext cx="8229600" cy="307776"/>
          </a:xfrm>
        </p:spPr>
        <p:txBody>
          <a:bodyPr vert="horz" wrap="square" lIns="0" tIns="0" rIns="0" bIns="0" rtlCol="0">
            <a:noAutofit/>
          </a:bodyPr>
          <a:lstStyle>
            <a:lvl1pPr marL="0" indent="0">
              <a:buFontTx/>
              <a:buNone/>
              <a:defRPr kumimoji="0" lang="en-IN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1029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1" name="TextBox 8"/>
          <p:cNvSpPr txBox="1"/>
          <p:nvPr userDrawn="1"/>
        </p:nvSpPr>
        <p:spPr>
          <a:xfrm>
            <a:off x="147412" y="6427715"/>
            <a:ext cx="215926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Font typeface="Arial"/>
              <a:buNone/>
            </a:pPr>
            <a:fld id="{AF323D4A-91CC-4F40-81A5-D9630C60C971}" type="slidenum">
              <a:rPr lang="en-US" sz="950" smtClean="0">
                <a:solidFill>
                  <a:srgbClr val="D9DAD5">
                    <a:lumMod val="90000"/>
                  </a:srgbClr>
                </a:solidFill>
                <a:latin typeface="Arial" charset="0"/>
                <a:cs typeface="+mn-cs"/>
              </a:rPr>
              <a:pPr algn="ctr">
                <a:buFont typeface="Arial"/>
                <a:buNone/>
              </a:pPr>
              <a:t>‹#›</a:t>
            </a:fld>
            <a:endParaRPr lang="en-US" sz="950" dirty="0">
              <a:solidFill>
                <a:srgbClr val="D9DAD5">
                  <a:lumMod val="90000"/>
                </a:srgbClr>
              </a:solidFill>
              <a:latin typeface="Arial" charset="0"/>
              <a:cs typeface="+mn-cs"/>
            </a:endParaRPr>
          </a:p>
        </p:txBody>
      </p:sp>
      <p:cxnSp>
        <p:nvCxnSpPr>
          <p:cNvPr id="32" name="Straight Connector 10"/>
          <p:cNvCxnSpPr/>
          <p:nvPr userDrawn="1"/>
        </p:nvCxnSpPr>
        <p:spPr>
          <a:xfrm>
            <a:off x="455689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2" descr="https://ak3.boxcdn.net/cdn/farfuture/W66q4K_PBfSkt5dErVB8miyDXNykqC-xd7Rz-BLMzqc/md5:5e805b06cdd9a3ff538e831b67955085/sites/default/files/AstraZeneca-Logo-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45130" y="6298600"/>
            <a:ext cx="1601968" cy="387212"/>
          </a:xfrm>
          <a:prstGeom prst="rect">
            <a:avLst/>
          </a:prstGeom>
          <a:noFill/>
        </p:spPr>
      </p:pic>
      <p:sp>
        <p:nvSpPr>
          <p:cNvPr id="36" name="Fußzeilenplatzhalter 20"/>
          <p:cNvSpPr>
            <a:spLocks noGrp="1"/>
          </p:cNvSpPr>
          <p:nvPr>
            <p:ph type="ftr" sz="quarter" idx="3"/>
          </p:nvPr>
        </p:nvSpPr>
        <p:spPr bwMode="auto">
          <a:xfrm>
            <a:off x="481330" y="6356350"/>
            <a:ext cx="68580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r>
              <a:rPr lang="en-US" smtClean="0">
                <a:solidFill>
                  <a:srgbClr val="D9DAD5">
                    <a:lumMod val="90000"/>
                  </a:srgbClr>
                </a:solidFill>
              </a:rPr>
              <a:t>© 2016, IMS HEALTH – Promotional effectiveness &amp; best-practice marketing mix – May 6th 2016</a:t>
            </a:r>
            <a:endParaRPr lang="en-US" dirty="0">
              <a:solidFill>
                <a:srgbClr val="D9DAD5">
                  <a:lumMod val="90000"/>
                </a:srgbClr>
              </a:solidFill>
            </a:endParaRPr>
          </a:p>
        </p:txBody>
      </p:sp>
      <p:sp>
        <p:nvSpPr>
          <p:cNvPr id="37" name="Datumsplatzhalter 23"/>
          <p:cNvSpPr>
            <a:spLocks noGrp="1"/>
          </p:cNvSpPr>
          <p:nvPr>
            <p:ph type="dt" sz="quarter" idx="2"/>
          </p:nvPr>
        </p:nvSpPr>
        <p:spPr bwMode="auto">
          <a:xfrm>
            <a:off x="481330" y="6492875"/>
            <a:ext cx="6629400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endParaRPr lang="en-US" dirty="0">
              <a:solidFill>
                <a:srgbClr val="D9DAD5">
                  <a:lumMod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8"/>
          <p:cNvSpPr txBox="1"/>
          <p:nvPr/>
        </p:nvSpPr>
        <p:spPr>
          <a:xfrm>
            <a:off x="147638" y="6427788"/>
            <a:ext cx="215900" cy="2921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buFont typeface="Arial"/>
              <a:buNone/>
              <a:defRPr/>
            </a:pPr>
            <a:fld id="{08010534-9688-4DC1-B2E2-0DB80FEE2EAD}" type="slidenum">
              <a:rPr lang="en-US" sz="950">
                <a:solidFill>
                  <a:schemeClr val="bg2">
                    <a:lumMod val="90000"/>
                  </a:schemeClr>
                </a:solidFill>
                <a:latin typeface="Arial" charset="0"/>
                <a:cs typeface="+mn-cs"/>
              </a:rPr>
              <a:pPr algn="ctr">
                <a:buFont typeface="Arial"/>
                <a:buNone/>
                <a:defRPr/>
              </a:pPr>
              <a:t>‹#›</a:t>
            </a:fld>
            <a:endParaRPr lang="en-US" sz="950" dirty="0">
              <a:solidFill>
                <a:schemeClr val="bg2">
                  <a:lumMod val="90000"/>
                </a:schemeClr>
              </a:solidFill>
              <a:latin typeface="Arial" charset="0"/>
              <a:cs typeface="+mn-cs"/>
            </a:endParaRPr>
          </a:p>
        </p:txBody>
      </p:sp>
      <p:cxnSp>
        <p:nvCxnSpPr>
          <p:cNvPr id="6" name="Straight Connector 10"/>
          <p:cNvCxnSpPr/>
          <p:nvPr/>
        </p:nvCxnSpPr>
        <p:spPr>
          <a:xfrm>
            <a:off x="455613" y="6353175"/>
            <a:ext cx="0" cy="295275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9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77013" y="6394450"/>
            <a:ext cx="2105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14"/>
          <p:cNvCxnSpPr/>
          <p:nvPr/>
        </p:nvCxnSpPr>
        <p:spPr>
          <a:xfrm>
            <a:off x="457200" y="1000125"/>
            <a:ext cx="82296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ttps://ak3.boxcdn.net/cdn/farfuture/W66q4K_PBfSkt5dErVB8miyDXNykqC-xd7Rz-BLMzqc/md5:5e805b06cdd9a3ff538e831b67955085/sites/default/files/AstraZeneca-Logo-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45050" y="6299200"/>
            <a:ext cx="160178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8"/>
          <p:cNvSpPr txBox="1"/>
          <p:nvPr userDrawn="1"/>
        </p:nvSpPr>
        <p:spPr>
          <a:xfrm>
            <a:off x="147638" y="6427788"/>
            <a:ext cx="215900" cy="2921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buFont typeface="Arial"/>
              <a:buNone/>
              <a:defRPr/>
            </a:pPr>
            <a:fld id="{A5308D6C-17F5-4351-B934-67D530ED03F4}" type="slidenum">
              <a:rPr lang="en-US" sz="950">
                <a:solidFill>
                  <a:schemeClr val="bg2">
                    <a:lumMod val="90000"/>
                  </a:schemeClr>
                </a:solidFill>
                <a:latin typeface="Arial" charset="0"/>
                <a:cs typeface="+mn-cs"/>
              </a:rPr>
              <a:pPr algn="ctr">
                <a:buFont typeface="Arial"/>
                <a:buNone/>
                <a:defRPr/>
              </a:pPr>
              <a:t>‹#›</a:t>
            </a:fld>
            <a:endParaRPr lang="en-US" sz="950" dirty="0">
              <a:solidFill>
                <a:schemeClr val="bg2">
                  <a:lumMod val="90000"/>
                </a:schemeClr>
              </a:solidFill>
              <a:latin typeface="Arial" charset="0"/>
              <a:cs typeface="+mn-cs"/>
            </a:endParaRPr>
          </a:p>
        </p:txBody>
      </p:sp>
      <p:cxnSp>
        <p:nvCxnSpPr>
          <p:cNvPr id="12" name="Straight Connector 10"/>
          <p:cNvCxnSpPr/>
          <p:nvPr userDrawn="1"/>
        </p:nvCxnSpPr>
        <p:spPr>
          <a:xfrm>
            <a:off x="455613" y="6353175"/>
            <a:ext cx="0" cy="295275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ttps://ak3.boxcdn.net/cdn/farfuture/W66q4K_PBfSkt5dErVB8miyDXNykqC-xd7Rz-BLMzqc/md5:5e805b06cdd9a3ff538e831b67955085/sites/default/files/AstraZeneca-Logo-1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45050" y="6299200"/>
            <a:ext cx="160178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043624"/>
            <a:ext cx="8229600" cy="307776"/>
          </a:xfrm>
        </p:spPr>
        <p:txBody>
          <a:bodyPr rtlCol="0">
            <a:noAutofit/>
          </a:bodyPr>
          <a:lstStyle>
            <a:lvl1pPr marL="0" indent="0">
              <a:buFontTx/>
              <a:buNone/>
              <a:defRPr kumimoji="0" lang="en-IN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Fußzeilenplatzhalter 2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pPr>
              <a:defRPr/>
            </a:pPr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5" name="Datumsplatzhalter 23"/>
          <p:cNvSpPr>
            <a:spLocks noGrp="1"/>
          </p:cNvSpPr>
          <p:nvPr>
            <p:ph type="dt" sz="quarter" idx="15"/>
          </p:nvPr>
        </p:nvSpPr>
        <p:spPr>
          <a:xfrm>
            <a:off x="481013" y="6492875"/>
            <a:ext cx="6629400" cy="136525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chemeClr val="bg2">
                    <a:lumMod val="90000"/>
                  </a:schemeClr>
                </a:solidFill>
                <a:effectLst/>
                <a:latin typeface="+mj-lt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2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1611313"/>
            <a:ext cx="8281987" cy="1235337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smtClean="0"/>
              <a:t>Zwischenfoli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063" y="2853725"/>
            <a:ext cx="8281987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5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</p:spPr>
        <p:txBody>
          <a:bodyPr wrap="square">
            <a:norm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en-US" smtClean="0"/>
              <a:t>Textmasterformate durch Klicken bearbeiten</a:t>
            </a:r>
            <a:endParaRPr 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96815500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154" name="think-cell Folie" r:id="rId47" imgW="270" imgH="270" progId="TCLayout.ActiveDocument.1">
                  <p:embed/>
                </p:oleObj>
              </mc:Choice>
              <mc:Fallback>
                <p:oleObj name="think-cell Folie" r:id="rId47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1649" y="1600200"/>
            <a:ext cx="8266114" cy="450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501651" y="-12616"/>
            <a:ext cx="8266112" cy="94765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endParaRPr lang="en-US" dirty="0"/>
          </a:p>
        </p:txBody>
      </p:sp>
      <p:sp>
        <p:nvSpPr>
          <p:cNvPr id="25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en-US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10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en-US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3" descr="Z:\Departments\Creative Services &amp; Copy Shop\Intern\Corp.Design\Brand Evolution_2015\Logo\IMS Logo RGB.png"/>
          <p:cNvPicPr>
            <a:picLocks noChangeAspect="1" noChangeArrowheads="1"/>
          </p:cNvPicPr>
          <p:nvPr/>
        </p:nvPicPr>
        <p:blipFill>
          <a:blip r:embed="rId49" cstate="print"/>
          <a:srcRect b="32145"/>
          <a:stretch>
            <a:fillRect/>
          </a:stretch>
        </p:blipFill>
        <p:spPr bwMode="auto">
          <a:xfrm>
            <a:off x="7265189" y="6316664"/>
            <a:ext cx="1440000" cy="2817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22" r:id="rId3"/>
    <p:sldLayoutId id="2147483805" r:id="rId4"/>
    <p:sldLayoutId id="2147483806" r:id="rId5"/>
    <p:sldLayoutId id="2147483807" r:id="rId6"/>
    <p:sldLayoutId id="2147483841" r:id="rId7"/>
    <p:sldLayoutId id="2147483869" r:id="rId8"/>
    <p:sldLayoutId id="2147483808" r:id="rId9"/>
    <p:sldLayoutId id="2147483870" r:id="rId10"/>
    <p:sldLayoutId id="2147483809" r:id="rId11"/>
    <p:sldLayoutId id="2147483823" r:id="rId12"/>
    <p:sldLayoutId id="2147483838" r:id="rId13"/>
    <p:sldLayoutId id="2147483839" r:id="rId14"/>
    <p:sldLayoutId id="2147483871" r:id="rId15"/>
    <p:sldLayoutId id="2147483810" r:id="rId16"/>
    <p:sldLayoutId id="2147483872" r:id="rId17"/>
    <p:sldLayoutId id="2147483885" r:id="rId18"/>
    <p:sldLayoutId id="2147483811" r:id="rId19"/>
    <p:sldLayoutId id="2147483873" r:id="rId20"/>
    <p:sldLayoutId id="2147483840" r:id="rId21"/>
    <p:sldLayoutId id="2147483844" r:id="rId22"/>
    <p:sldLayoutId id="2147483812" r:id="rId23"/>
    <p:sldLayoutId id="2147483874" r:id="rId24"/>
    <p:sldLayoutId id="2147483836" r:id="rId25"/>
    <p:sldLayoutId id="2147483843" r:id="rId26"/>
    <p:sldLayoutId id="2147483813" r:id="rId27"/>
    <p:sldLayoutId id="2147483875" r:id="rId28"/>
    <p:sldLayoutId id="2147483837" r:id="rId29"/>
    <p:sldLayoutId id="2147483814" r:id="rId30"/>
    <p:sldLayoutId id="2147483815" r:id="rId31"/>
    <p:sldLayoutId id="2147483876" r:id="rId32"/>
    <p:sldLayoutId id="2147483816" r:id="rId33"/>
    <p:sldLayoutId id="2147483877" r:id="rId34"/>
    <p:sldLayoutId id="2147483817" r:id="rId35"/>
    <p:sldLayoutId id="2147483818" r:id="rId36"/>
    <p:sldLayoutId id="2147483819" r:id="rId37"/>
    <p:sldLayoutId id="2147483820" r:id="rId38"/>
    <p:sldLayoutId id="2147483821" r:id="rId39"/>
    <p:sldLayoutId id="2147483886" r:id="rId40"/>
    <p:sldLayoutId id="2147483887" r:id="rId41"/>
    <p:sldLayoutId id="2147483888" r:id="rId42"/>
    <p:sldLayoutId id="2147483889" r:id="rId43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9144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02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../../Shire/follow-up/03_results/Apr05/Apr21/covariates_retained_lasso_Apr21.xlsx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hyperlink" Target="../../Shire/follow-up/03_results/Apr05/Apr19/performance_summary.xlsx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hyperlink" Target="../../MS/result/Aug17/2016-08-16%2004.23.25/1/BConti/Tables" TargetMode="External"/><Relationship Id="rId7" Type="http://schemas.openxmlformats.org/officeDocument/2006/relationships/diagramColors" Target="../diagrams/colors10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../../MS/04_Delivery/03_InitModel_NonRegulatizedGLM/02%20Code/InitModel/functions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../../MS/04_Delivery/32_RF/03%20Results/2016-08-03%2008.02.16/Cmp/outcomes_grp_auc_tr_ts.csv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4" Type="http://schemas.openxmlformats.org/officeDocument/2006/relationships/hyperlink" Target="../../MS/result/Aug03/outcomes_grp_auc_tr_ts_Aug03.xlsx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../../Shire/follow-up/03_results/Apr05/Apr14/summary_Apr14.xlsx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../../Shire/follow-up/01_data/variable_for_presentation.xlsx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hyperlink" Target="../../Shire/follow-up/03_results/feature%20filter.xlsx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../../Shire/follow-up/03_results/Apr05/Apr14/summary_Apr14.xlsx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hyperlink" Target="../../Shire/follow-up/03_results/May04/summary%20results%20based%20on%20the%20three%20new%20datasets%20May04.xlsx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../../Shire/follow-up/03_results/Mar28/perf_Similarity_Mar28.xlsx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2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 smtClean="0"/>
              <a:t>Shire HAE follow-up analysis project &amp; MS project</a:t>
            </a:r>
            <a:endParaRPr lang="en-US" sz="2800" dirty="0"/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</p:nvPr>
        </p:nvSpPr>
        <p:spPr>
          <a:xfrm>
            <a:off x="500063" y="3462569"/>
            <a:ext cx="5009836" cy="564738"/>
          </a:xfrm>
        </p:spPr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Project methodology introduction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0063" y="4498426"/>
            <a:ext cx="5697126" cy="65950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dirty="0" smtClean="0"/>
              <a:t>Zhao Jie</a:t>
            </a:r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Jan 3</a:t>
            </a:r>
            <a:r>
              <a:rPr lang="en-US" baseline="30000" dirty="0" smtClean="0"/>
              <a:t>th</a:t>
            </a:r>
            <a:r>
              <a:rPr lang="en-US" dirty="0" smtClean="0"/>
              <a:t>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129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/>
              <a:t>additional investigation </a:t>
            </a:r>
            <a:r>
              <a:rPr lang="en-GB" altLang="zh-CN" dirty="0" smtClean="0"/>
              <a:t>(easy positive selection )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64070" y="853153"/>
            <a:ext cx="705003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endParaRPr lang="zh-CN" altLang="zh-CN" dirty="0"/>
          </a:p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>
                <a:latin typeface="Arial" pitchFamily="34" charset="0"/>
                <a:cs typeface="Arial" pitchFamily="34" charset="0"/>
              </a:rPr>
              <a:t>weighting the ‘easy’ positive patients </a:t>
            </a:r>
            <a:endParaRPr lang="en-GB" altLang="zh-CN" sz="16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44038226"/>
              </p:ext>
            </p:extLst>
          </p:nvPr>
        </p:nvGraphicFramePr>
        <p:xfrm>
          <a:off x="1249680" y="169730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69403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ire HAE follow-up - </a:t>
            </a:r>
            <a:r>
              <a:rPr lang="en-GB" altLang="zh-CN" dirty="0"/>
              <a:t>additional investigation</a:t>
            </a:r>
            <a:endParaRPr lang="zh-CN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1926076" y="1342415"/>
            <a:ext cx="1420238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positive</a:t>
            </a:r>
            <a:endParaRPr lang="zh-CN" altLang="en-US" dirty="0"/>
          </a:p>
        </p:txBody>
      </p:sp>
      <p:sp>
        <p:nvSpPr>
          <p:cNvPr id="7" name="Rectangle 6"/>
          <p:cNvSpPr/>
          <p:nvPr/>
        </p:nvSpPr>
        <p:spPr>
          <a:xfrm>
            <a:off x="4386464" y="1358072"/>
            <a:ext cx="1420238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egative</a:t>
            </a:r>
            <a:endParaRPr lang="zh-CN" altLang="en-US" dirty="0"/>
          </a:p>
        </p:txBody>
      </p:sp>
      <p:sp>
        <p:nvSpPr>
          <p:cNvPr id="8" name="Rectangle 7"/>
          <p:cNvSpPr/>
          <p:nvPr/>
        </p:nvSpPr>
        <p:spPr>
          <a:xfrm>
            <a:off x="1926076" y="2681385"/>
            <a:ext cx="1420238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dd weight</a:t>
            </a:r>
            <a:endParaRPr lang="zh-CN" altLang="en-US" dirty="0"/>
          </a:p>
        </p:txBody>
      </p:sp>
      <p:sp>
        <p:nvSpPr>
          <p:cNvPr id="9" name="Rectangle 8"/>
          <p:cNvSpPr/>
          <p:nvPr/>
        </p:nvSpPr>
        <p:spPr>
          <a:xfrm>
            <a:off x="4386463" y="2681385"/>
            <a:ext cx="1858693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Prediction on negative</a:t>
            </a:r>
            <a:endParaRPr lang="zh-CN" altLang="en-US" dirty="0"/>
          </a:p>
        </p:txBody>
      </p:sp>
      <p:sp>
        <p:nvSpPr>
          <p:cNvPr id="10" name="Rectangle 9"/>
          <p:cNvSpPr/>
          <p:nvPr/>
        </p:nvSpPr>
        <p:spPr>
          <a:xfrm>
            <a:off x="1926076" y="4087706"/>
            <a:ext cx="1420238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Weighted positive</a:t>
            </a:r>
            <a:endParaRPr lang="zh-CN" altLang="en-US" dirty="0"/>
          </a:p>
        </p:txBody>
      </p:sp>
      <p:sp>
        <p:nvSpPr>
          <p:cNvPr id="11" name="Rectangle 10"/>
          <p:cNvSpPr/>
          <p:nvPr/>
        </p:nvSpPr>
        <p:spPr>
          <a:xfrm>
            <a:off x="4386464" y="4087705"/>
            <a:ext cx="1420238" cy="72957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elected negative</a:t>
            </a:r>
            <a:endParaRPr lang="zh-CN" altLang="en-US" dirty="0"/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2636195" y="2071990"/>
            <a:ext cx="0" cy="51474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096583" y="2087647"/>
            <a:ext cx="0" cy="51474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2636195" y="3479258"/>
            <a:ext cx="0" cy="51474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096583" y="3479257"/>
            <a:ext cx="0" cy="51474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1031132" y="2087647"/>
            <a:ext cx="1488332" cy="49908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irst-stage lasso/KNN</a:t>
            </a:r>
            <a:endParaRPr lang="zh-CN" altLang="en-US" dirty="0"/>
          </a:p>
        </p:txBody>
      </p:sp>
      <p:sp>
        <p:nvSpPr>
          <p:cNvPr id="19" name="Rectangle 18"/>
          <p:cNvSpPr/>
          <p:nvPr/>
        </p:nvSpPr>
        <p:spPr>
          <a:xfrm>
            <a:off x="5395609" y="2134972"/>
            <a:ext cx="1488332" cy="49908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irst-stage lasso</a:t>
            </a:r>
            <a:endParaRPr lang="zh-CN" altLang="en-US" dirty="0"/>
          </a:p>
        </p:txBody>
      </p:sp>
      <p:sp>
        <p:nvSpPr>
          <p:cNvPr id="20" name="Rectangle 19"/>
          <p:cNvSpPr/>
          <p:nvPr/>
        </p:nvSpPr>
        <p:spPr>
          <a:xfrm>
            <a:off x="5321030" y="3504663"/>
            <a:ext cx="2889115" cy="489339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Give a threshold to select negative</a:t>
            </a:r>
            <a:endParaRPr lang="zh-CN" altLang="en-US" dirty="0"/>
          </a:p>
        </p:txBody>
      </p:sp>
      <p:sp>
        <p:nvSpPr>
          <p:cNvPr id="21" name="Curved Up Arrow 20"/>
          <p:cNvSpPr/>
          <p:nvPr/>
        </p:nvSpPr>
        <p:spPr>
          <a:xfrm>
            <a:off x="2636195" y="4887929"/>
            <a:ext cx="2616741" cy="394186"/>
          </a:xfrm>
          <a:prstGeom prst="curvedUp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346314" y="5583677"/>
            <a:ext cx="1235414" cy="54474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odel</a:t>
            </a:r>
            <a:endParaRPr lang="zh-CN" altLang="en-US" dirty="0"/>
          </a:p>
        </p:txBody>
      </p:sp>
      <p:sp>
        <p:nvSpPr>
          <p:cNvPr id="23" name="Left Brace 22"/>
          <p:cNvSpPr/>
          <p:nvPr/>
        </p:nvSpPr>
        <p:spPr>
          <a:xfrm>
            <a:off x="4763311" y="5182624"/>
            <a:ext cx="557719" cy="1475558"/>
          </a:xfrm>
          <a:prstGeom prst="lef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Rectangle 23"/>
          <p:cNvSpPr/>
          <p:nvPr/>
        </p:nvSpPr>
        <p:spPr>
          <a:xfrm>
            <a:off x="5502613" y="5031629"/>
            <a:ext cx="2840476" cy="3941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plit evaluation folds</a:t>
            </a:r>
            <a:endParaRPr lang="zh-CN" altLang="en-US" dirty="0"/>
          </a:p>
        </p:txBody>
      </p:sp>
      <p:sp>
        <p:nvSpPr>
          <p:cNvPr id="25" name="Rectangle 24"/>
          <p:cNvSpPr/>
          <p:nvPr/>
        </p:nvSpPr>
        <p:spPr>
          <a:xfrm>
            <a:off x="5502613" y="5583421"/>
            <a:ext cx="3398196" cy="3941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plit validation folds for CV</a:t>
            </a:r>
            <a:endParaRPr lang="zh-CN" altLang="en-US" dirty="0"/>
          </a:p>
        </p:txBody>
      </p:sp>
      <p:sp>
        <p:nvSpPr>
          <p:cNvPr id="26" name="Rectangle 25"/>
          <p:cNvSpPr/>
          <p:nvPr/>
        </p:nvSpPr>
        <p:spPr>
          <a:xfrm>
            <a:off x="5502613" y="6121156"/>
            <a:ext cx="1253947" cy="3941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......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7" name="Plus 26"/>
          <p:cNvSpPr/>
          <p:nvPr/>
        </p:nvSpPr>
        <p:spPr>
          <a:xfrm>
            <a:off x="3638145" y="1485366"/>
            <a:ext cx="384242" cy="400259"/>
          </a:xfrm>
          <a:prstGeom prst="mathPlus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Plus 27"/>
          <p:cNvSpPr/>
          <p:nvPr/>
        </p:nvSpPr>
        <p:spPr>
          <a:xfrm>
            <a:off x="3674268" y="4283119"/>
            <a:ext cx="384242" cy="400259"/>
          </a:xfrm>
          <a:prstGeom prst="mathPlus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154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/>
              <a:t>additional investigation </a:t>
            </a:r>
            <a:r>
              <a:rPr lang="en-GB" altLang="zh-CN" dirty="0" smtClean="0"/>
              <a:t>(ensemble model</a:t>
            </a:r>
            <a:r>
              <a:rPr lang="en-GB" altLang="zh-CN" dirty="0"/>
              <a:t>)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-524066" y="663851"/>
            <a:ext cx="705003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endParaRPr lang="zh-CN" altLang="zh-CN" dirty="0"/>
          </a:p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>
                <a:latin typeface="Arial" pitchFamily="34" charset="0"/>
                <a:cs typeface="Arial" pitchFamily="34" charset="0"/>
              </a:rPr>
              <a:t>ensemble modelling for classification</a:t>
            </a:r>
          </a:p>
          <a:p>
            <a:pPr lvl="3" indent="-285750">
              <a:buFont typeface="Wingdings" panose="05000000000000000000" pitchFamily="2" charset="2"/>
            </a:pPr>
            <a:endParaRPr lang="en-US" altLang="zh-CN" sz="16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/>
        </p:nvGraphicFramePr>
        <p:xfrm>
          <a:off x="429964" y="1771904"/>
          <a:ext cx="6096000" cy="5086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46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/>
              <a:t>additional investigation </a:t>
            </a:r>
            <a:r>
              <a:rPr lang="en-GB" altLang="zh-CN" dirty="0" smtClean="0"/>
              <a:t>(ensemble model</a:t>
            </a:r>
            <a:r>
              <a:rPr lang="en-GB" altLang="zh-CN" dirty="0"/>
              <a:t>)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-524066" y="663851"/>
            <a:ext cx="705003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endParaRPr lang="zh-CN" altLang="zh-CN" dirty="0"/>
          </a:p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>
                <a:latin typeface="Arial" pitchFamily="34" charset="0"/>
                <a:cs typeface="Arial" pitchFamily="34" charset="0"/>
              </a:rPr>
              <a:t>ensemble modelling for classification</a:t>
            </a:r>
          </a:p>
          <a:p>
            <a:pPr lvl="3" indent="-285750">
              <a:buFont typeface="Wingdings" panose="05000000000000000000" pitchFamily="2" charset="2"/>
            </a:pPr>
            <a:endParaRPr lang="en-US" altLang="zh-CN" sz="16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1190527"/>
              </p:ext>
            </p:extLst>
          </p:nvPr>
        </p:nvGraphicFramePr>
        <p:xfrm>
          <a:off x="429964" y="1771904"/>
          <a:ext cx="6096000" cy="5086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2887" y="924431"/>
            <a:ext cx="4380548" cy="1971675"/>
          </a:xfrm>
          <a:prstGeom prst="rect">
            <a:avLst/>
          </a:prstGeom>
        </p:spPr>
      </p:pic>
      <p:cxnSp>
        <p:nvCxnSpPr>
          <p:cNvPr id="10" name="Curved Connector 9"/>
          <p:cNvCxnSpPr/>
          <p:nvPr/>
        </p:nvCxnSpPr>
        <p:spPr>
          <a:xfrm flipV="1">
            <a:off x="1298448" y="1311652"/>
            <a:ext cx="3334439" cy="745748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– additional </a:t>
            </a:r>
            <a:r>
              <a:rPr lang="en-GB" altLang="zh-CN" dirty="0" smtClean="0"/>
              <a:t>Investigation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00062" y="1700213"/>
            <a:ext cx="705003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l"/>
            </a:pPr>
            <a:r>
              <a:rPr lang="en-GB" altLang="zh-CN" sz="1600" dirty="0">
                <a:latin typeface="Arial" pitchFamily="34" charset="0"/>
                <a:cs typeface="Arial" pitchFamily="34" charset="0"/>
              </a:rPr>
              <a:t>Information loss from reducing the number of variables from 240+ to 80+</a:t>
            </a:r>
          </a:p>
          <a:p>
            <a:pPr marL="742950" lvl="1" indent="-285750">
              <a:buFont typeface="Wingdings" panose="05000000000000000000" pitchFamily="2" charset="2"/>
              <a:buChar char="l"/>
            </a:pPr>
            <a:endParaRPr lang="en-GB" altLang="zh-CN" sz="16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l"/>
            </a:pPr>
            <a:endParaRPr lang="en-GB" altLang="zh-CN" sz="16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GB" altLang="zh-CN" sz="1600" dirty="0">
                <a:latin typeface="Arial" pitchFamily="34" charset="0"/>
                <a:cs typeface="Arial" pitchFamily="34" charset="0"/>
              </a:rPr>
              <a:t>Result:</a:t>
            </a:r>
          </a:p>
          <a:p>
            <a:pPr lvl="1"/>
            <a:r>
              <a:rPr lang="en-US" altLang="zh-CN" sz="1600" dirty="0">
                <a:latin typeface="Arial" pitchFamily="34" charset="0"/>
                <a:cs typeface="Arial" pitchFamily="34" charset="0"/>
                <a:hlinkClick r:id="rId3" action="ppaction://hlinkfile"/>
              </a:rPr>
              <a:t>..\..\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  <a:hlinkClick r:id="rId3" action="ppaction://hlinkfile"/>
              </a:rPr>
              <a:t>Shire\follow-up\03_results\Apr05\Apr21\covariates_retained_lasso_Apr21.xlsx</a:t>
            </a:r>
            <a:endParaRPr lang="en-US" altLang="zh-CN" sz="1600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altLang="zh-CN" sz="1600" dirty="0" smtClean="0">
                <a:latin typeface="Arial" pitchFamily="34" charset="0"/>
                <a:cs typeface="Arial" pitchFamily="34" charset="0"/>
                <a:hlinkClick r:id="rId4" action="ppaction://hlinkfile"/>
              </a:rPr>
              <a:t>.\..\</a:t>
            </a:r>
            <a:r>
              <a:rPr lang="en-US" altLang="zh-CN" sz="1600" dirty="0">
                <a:latin typeface="Arial" pitchFamily="34" charset="0"/>
                <a:cs typeface="Arial" pitchFamily="34" charset="0"/>
                <a:hlinkClick r:id="rId4" action="ppaction://hlinkfile"/>
              </a:rPr>
              <a:t>Shire\follow-up\03_results\Apr05\Apr19\performance_summary.xlsx</a:t>
            </a:r>
            <a:endParaRPr lang="zh-CN" altLang="zh-CN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14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6377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9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90334" y="1016953"/>
            <a:ext cx="8275379" cy="5264975"/>
          </a:xfrm>
        </p:spPr>
        <p:txBody>
          <a:bodyPr/>
          <a:lstStyle/>
          <a:p>
            <a:r>
              <a:rPr lang="en-US" b="1" dirty="0" smtClean="0"/>
              <a:t>M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/>
              <a:t>Objectives</a:t>
            </a:r>
            <a:endParaRPr lang="zh-CN" altLang="zh-CN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/>
              <a:t>Study design</a:t>
            </a:r>
            <a:endParaRPr lang="zh-CN" altLang="zh-CN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en-GB" altLang="zh-CN" dirty="0" smtClean="0"/>
              <a:t>Analysis workflow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Create cohort data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Create descriptive stats table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Create cohort data for modelling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Modelling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Information we focus on for the above three type models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altLang="zh-CN" dirty="0"/>
              <a:t>Cross-validation resampling </a:t>
            </a:r>
            <a:endParaRPr lang="zh-CN" altLang="zh-CN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altLang="zh-CN" dirty="0"/>
              <a:t>Variable exploration</a:t>
            </a:r>
            <a:endParaRPr lang="zh-CN" altLang="zh-CN" dirty="0"/>
          </a:p>
          <a:p>
            <a:pPr marL="685800" lvl="2" indent="0">
              <a:buNone/>
            </a:pPr>
            <a:endParaRPr lang="en-GB" altLang="zh-CN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C2980"/>
                </a:solidFill>
              </a:rPr>
              <a:t>Content</a:t>
            </a:r>
            <a:endParaRPr lang="en-US" dirty="0">
              <a:solidFill>
                <a:srgbClr val="1C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760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S - Objectives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00062" y="1700213"/>
            <a:ext cx="705003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0350" lvl="1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</a:pPr>
            <a:endParaRPr lang="zh-CN" altLang="zh-CN" sz="1600" dirty="0"/>
          </a:p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650973422"/>
              </p:ext>
            </p:extLst>
          </p:nvPr>
        </p:nvGraphicFramePr>
        <p:xfrm>
          <a:off x="977077" y="1261872"/>
          <a:ext cx="6096000" cy="46288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6022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S – Study design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737806" y="1371029"/>
            <a:ext cx="7050030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1600" dirty="0"/>
              <a:t>Data will be extracted for RRMS patients receiving BRACE therapy and will be divided into </a:t>
            </a:r>
            <a:r>
              <a:rPr lang="en-US" altLang="zh-CN" sz="1600" b="1" dirty="0"/>
              <a:t>five cohorts</a:t>
            </a:r>
            <a:r>
              <a:rPr lang="en-US" altLang="zh-CN" sz="1600" dirty="0"/>
              <a:t>: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Patients continuing on BRACE therapy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Patients switching to alternative BRACE therapy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Patients switching to first-line oral therapy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Patients switching/escalating to second-line therapy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Composite cohort combining the above cohorts</a:t>
            </a:r>
            <a:endParaRPr lang="zh-CN" altLang="zh-CN" sz="16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1600" dirty="0"/>
              <a:t>The index date is defined as the date of 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Switch/escalation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The most recent visit that will allow for 12 months of post-index data (in the BRACE continuation cohort)</a:t>
            </a:r>
            <a:endParaRPr lang="zh-CN" altLang="zh-CN" sz="16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1600" dirty="0"/>
              <a:t>The analysis will model </a:t>
            </a:r>
            <a:r>
              <a:rPr lang="en-US" altLang="zh-CN" sz="1600" b="1" dirty="0"/>
              <a:t>six alternative, binary outcome measures</a:t>
            </a:r>
            <a:r>
              <a:rPr lang="en-US" altLang="zh-CN" sz="1600" dirty="0"/>
              <a:t>: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Relapse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Expanded Disability Scale (EDSS) progression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Confirmed EDSS progression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Relapse or EDSS progression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Relapse or confirmed EDSS progression</a:t>
            </a:r>
            <a:endParaRPr lang="zh-CN" altLang="zh-CN" sz="1600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altLang="zh-CN" sz="1600" dirty="0"/>
              <a:t>Relapse and EDSS </a:t>
            </a:r>
            <a:r>
              <a:rPr lang="en-US" altLang="zh-CN" sz="1600" dirty="0" smtClean="0"/>
              <a:t>progression</a:t>
            </a:r>
            <a:endParaRPr lang="zh-CN" altLang="zh-CN" sz="1600" dirty="0"/>
          </a:p>
        </p:txBody>
      </p:sp>
    </p:spTree>
    <p:extLst>
      <p:ext uri="{BB962C8B-B14F-4D97-AF65-F5344CB8AC3E}">
        <p14:creationId xmlns:p14="http://schemas.microsoft.com/office/powerpoint/2010/main" val="387482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S – create cohort data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53704085"/>
              </p:ext>
            </p:extLst>
          </p:nvPr>
        </p:nvGraphicFramePr>
        <p:xfrm>
          <a:off x="575474" y="548640"/>
          <a:ext cx="10388182" cy="6693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084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lvl="1" indent="-285750">
              <a:buFont typeface="Wingdings" panose="05000000000000000000" pitchFamily="2" charset="2"/>
              <a:buChar char="l"/>
            </a:pPr>
            <a:r>
              <a:rPr lang="en-US" dirty="0" smtClean="0"/>
              <a:t>MS – </a:t>
            </a:r>
            <a:r>
              <a:rPr lang="en-US" altLang="zh-CN" sz="1600" dirty="0" smtClean="0"/>
              <a:t>Modelling</a:t>
            </a:r>
            <a:endParaRPr lang="en-US" altLang="zh-CN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0" y="1192666"/>
                <a:ext cx="4129532" cy="635687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0000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pPr>
                        <m:e>
                          <m:nary>
                            <m:naryPr>
                              <m:chr m:val="∑"/>
                              <m:ctrlPr>
                                <a:rPr lang="pt-BR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naryPr>
                            <m:sub>
                              <m:r>
                                <a:rPr lang="pt-BR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𝒏</m:t>
                              </m:r>
                              <m:r>
                                <a:rPr lang="pt-BR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=</m:t>
                              </m:r>
                              <m:r>
                                <a:rPr lang="pt-BR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𝟏</m:t>
                              </m:r>
                            </m:sub>
                            <m:sup>
                              <m:r>
                                <a:rPr lang="pt-BR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∞</m:t>
                              </m:r>
                            </m:sup>
                            <m:e>
                              <m:d>
                                <m:dPr>
                                  <m:ctrlPr>
                                    <a:rPr lang="pt-BR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𝒚</m:t>
                                      </m:r>
                                    </m:e>
                                    <m:sub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𝒊</m:t>
                                      </m:r>
                                    </m:sub>
                                  </m:sSub>
                                  <m: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𝜷</m:t>
                                      </m:r>
                                    </m:e>
                                    <m:sub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𝟎</m:t>
                                      </m:r>
                                    </m:sub>
                                  </m:sSub>
                                  <m: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− </m:t>
                                  </m:r>
                                  <m:nary>
                                    <m:naryPr>
                                      <m:chr m:val="∑"/>
                                      <m:ctrlP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m:rPr>
                                          <m:brk m:alnAt="23"/>
                                        </m:rP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𝒋</m:t>
                                      </m:r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=</m:t>
                                      </m:r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𝟏</m:t>
                                      </m:r>
                                    </m:sub>
                                    <m:sup>
                                      <m:r>
                                        <a:rPr lang="en-US" altLang="zh-CN" sz="1200" b="1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cs typeface="Arial" pitchFamily="34" charset="0"/>
                                        </a:rPr>
                                        <m:t>𝒑</m:t>
                                      </m:r>
                                    </m:sup>
                                    <m:e>
                                      <m:sSub>
                                        <m:sSubPr>
                                          <m:ctrlPr>
                                            <a:rPr lang="en-US" altLang="zh-CN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  <m:t>𝜷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  <m:t>𝒋</m:t>
                                          </m:r>
                                        </m:sub>
                                      </m:sSub>
                                      <m:sSub>
                                        <m:sSubPr>
                                          <m:ctrlPr>
                                            <a:rPr lang="en-US" altLang="zh-CN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  <m:t>𝑿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200" b="1" i="1" smtClean="0">
                                              <a:solidFill>
                                                <a:srgbClr val="FF0000"/>
                                              </a:solidFill>
                                              <a:latin typeface="Cambria Math" panose="02040503050406030204" pitchFamily="18" charset="0"/>
                                              <a:cs typeface="Arial" pitchFamily="34" charset="0"/>
                                            </a:rPr>
                                            <m:t>𝒊𝒋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</m:e>
                          </m:nary>
                        </m:e>
                        <m:sup>
                          <m:r>
                            <a:rPr lang="en-US" altLang="zh-CN" sz="1200" b="1" i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𝟐</m:t>
                          </m:r>
                        </m:sup>
                      </m:sSup>
                      <m:r>
                        <a:rPr lang="en-US" altLang="zh-CN" sz="1200" b="1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zh-CN" altLang="en-US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𝝀</m:t>
                          </m:r>
                        </m:e>
                        <m:sub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𝟏</m:t>
                          </m:r>
                        </m:sub>
                      </m:sSub>
                      <m:nary>
                        <m:naryPr>
                          <m:chr m:val="∑"/>
                          <m:ctrlPr>
                            <a:rPr lang="zh-CN" altLang="en-US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𝒋</m:t>
                          </m:r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=</m:t>
                          </m:r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𝟏</m:t>
                          </m:r>
                        </m:sub>
                        <m:sup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𝒑</m:t>
                          </m:r>
                        </m:sup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𝜷</m:t>
                                  </m:r>
                                </m:e>
                                <m:sub>
                                  <m: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𝒋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𝝀</m:t>
                              </m:r>
                            </m:e>
                            <m:sub>
                              <m: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𝟐</m:t>
                              </m:r>
                            </m:sub>
                          </m:sSub>
                          <m:r>
                            <a:rPr lang="en-US" altLang="zh-CN" sz="12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 </m:t>
                          </m:r>
                          <m:nary>
                            <m:naryPr>
                              <m:chr m:val="∑"/>
                              <m:ctrlP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𝒋</m:t>
                              </m:r>
                              <m: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=</m:t>
                              </m:r>
                              <m: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𝟏</m:t>
                              </m:r>
                            </m:sub>
                            <m:sup>
                              <m:r>
                                <a:rPr lang="en-US" altLang="zh-CN" sz="1200" b="1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𝒑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𝜷</m:t>
                                  </m:r>
                                </m:e>
                                <m:sub>
                                  <m: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𝒋</m:t>
                                  </m:r>
                                </m:sub>
                                <m:sup>
                                  <m:r>
                                    <a:rPr lang="en-US" altLang="zh-CN" sz="12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𝟐</m:t>
                                  </m:r>
                                </m:sup>
                              </m:sSubSup>
                            </m:e>
                          </m:nary>
                        </m:e>
                      </m:nary>
                    </m:oMath>
                  </m:oMathPara>
                </a14:m>
                <a:endParaRPr lang="zh-CN" altLang="en-US" sz="1200" b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192666"/>
                <a:ext cx="4129532" cy="635687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  <a:ln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451893745"/>
              </p:ext>
            </p:extLst>
          </p:nvPr>
        </p:nvGraphicFramePr>
        <p:xfrm>
          <a:off x="388642" y="1828352"/>
          <a:ext cx="8488490" cy="5029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Oval Callout 4"/>
          <p:cNvSpPr/>
          <p:nvPr/>
        </p:nvSpPr>
        <p:spPr>
          <a:xfrm>
            <a:off x="3701458" y="1396900"/>
            <a:ext cx="5064255" cy="903922"/>
          </a:xfrm>
          <a:prstGeom prst="wedgeEllipseCallout">
            <a:avLst>
              <a:gd name="adj1" fmla="val -33292"/>
              <a:gd name="adj2" fmla="val 7767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altLang="zh-CN" sz="1600" dirty="0"/>
              <a:t>Elastic net is to try to find </a:t>
            </a:r>
            <a:r>
              <a:rPr lang="el-GR" altLang="zh-CN" sz="1600" dirty="0"/>
              <a:t>β</a:t>
            </a:r>
            <a:r>
              <a:rPr lang="en-US" altLang="zh-CN" sz="1600" dirty="0"/>
              <a:t> to minimize the quantity:</a:t>
            </a:r>
          </a:p>
        </p:txBody>
      </p:sp>
      <p:cxnSp>
        <p:nvCxnSpPr>
          <p:cNvPr id="7" name="Elbow Connector 6"/>
          <p:cNvCxnSpPr>
            <a:stCxn id="5" idx="0"/>
          </p:cNvCxnSpPr>
          <p:nvPr/>
        </p:nvCxnSpPr>
        <p:spPr>
          <a:xfrm rot="16200000" flipV="1">
            <a:off x="5193547" y="356861"/>
            <a:ext cx="71020" cy="2009058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86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6377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4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84558" y="1518244"/>
            <a:ext cx="8275379" cy="5877818"/>
          </a:xfrm>
        </p:spPr>
        <p:txBody>
          <a:bodyPr/>
          <a:lstStyle/>
          <a:p>
            <a:r>
              <a:rPr lang="en-US" b="1" dirty="0" smtClean="0"/>
              <a:t>Shire HAE follow-up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O</a:t>
            </a:r>
            <a:r>
              <a:rPr lang="en-US" dirty="0" smtClean="0"/>
              <a:t>bjective</a:t>
            </a:r>
            <a:endParaRPr lang="en-US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en-GB" altLang="zh-CN" dirty="0"/>
              <a:t>D</a:t>
            </a:r>
            <a:r>
              <a:rPr lang="en-GB" altLang="zh-CN" dirty="0" smtClean="0"/>
              <a:t>ataset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altLang="zh-CN" dirty="0" smtClean="0"/>
              <a:t>Featur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altLang="zh-CN" dirty="0" smtClean="0"/>
              <a:t>Model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altLang="zh-CN" dirty="0" smtClean="0"/>
              <a:t>Evaluation / Test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Additional investigations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C2980"/>
                </a:solidFill>
              </a:rPr>
              <a:t>Content</a:t>
            </a:r>
            <a:endParaRPr lang="en-US" dirty="0">
              <a:solidFill>
                <a:srgbClr val="1C29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991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MS – </a:t>
            </a:r>
            <a:r>
              <a:rPr lang="en-US" altLang="zh-CN" dirty="0"/>
              <a:t>Information we focus on for the above three type models</a:t>
            </a:r>
            <a:endParaRPr lang="zh-CN" altLang="zh-CN" dirty="0"/>
          </a:p>
        </p:txBody>
      </p:sp>
      <p:sp>
        <p:nvSpPr>
          <p:cNvPr id="8" name="Rectangle 5"/>
          <p:cNvSpPr/>
          <p:nvPr/>
        </p:nvSpPr>
        <p:spPr>
          <a:xfrm>
            <a:off x="500062" y="5714429"/>
            <a:ext cx="70500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altLang="zh-CN" sz="1600" dirty="0" smtClean="0"/>
              <a:t>Results:</a:t>
            </a:r>
            <a:r>
              <a:rPr lang="en-US" altLang="zh-CN" sz="1600" dirty="0" smtClean="0">
                <a:hlinkClick r:id="rId3" action="ppaction://hlinkfile"/>
              </a:rPr>
              <a:t>..\..\MS\result\Aug17\2016-08-16 04.23.25\1\</a:t>
            </a:r>
            <a:r>
              <a:rPr lang="en-US" altLang="zh-CN" sz="1600" dirty="0" err="1" smtClean="0">
                <a:hlinkClick r:id="rId3" action="ppaction://hlinkfile"/>
              </a:rPr>
              <a:t>BConti</a:t>
            </a:r>
            <a:r>
              <a:rPr lang="en-US" altLang="zh-CN" sz="1600" dirty="0" smtClean="0">
                <a:hlinkClick r:id="rId3" action="ppaction://hlinkfile"/>
              </a:rPr>
              <a:t>\Tables</a:t>
            </a:r>
            <a:endParaRPr lang="en-US" altLang="zh-CN" sz="1600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924787024"/>
              </p:ext>
            </p:extLst>
          </p:nvPr>
        </p:nvGraphicFramePr>
        <p:xfrm>
          <a:off x="903925" y="812406"/>
          <a:ext cx="6096000" cy="508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9781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MS – </a:t>
            </a:r>
            <a:r>
              <a:rPr lang="en-GB" altLang="zh-CN" dirty="0"/>
              <a:t>Cross-validation resampling</a:t>
            </a:r>
            <a:endParaRPr lang="zh-CN" altLang="zh-CN" dirty="0"/>
          </a:p>
        </p:txBody>
      </p:sp>
      <p:sp>
        <p:nvSpPr>
          <p:cNvPr id="8" name="Rectangle 5"/>
          <p:cNvSpPr/>
          <p:nvPr/>
        </p:nvSpPr>
        <p:spPr>
          <a:xfrm>
            <a:off x="693212" y="4726700"/>
            <a:ext cx="705003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en-US" altLang="zh-CN" sz="1600" dirty="0" smtClean="0"/>
          </a:p>
          <a:p>
            <a:pPr lvl="1"/>
            <a:endParaRPr lang="en-US" altLang="zh-CN" sz="1600" dirty="0" smtClean="0"/>
          </a:p>
          <a:p>
            <a:pPr lvl="1"/>
            <a:r>
              <a:rPr lang="en-US" altLang="zh-CN" sz="1600" dirty="0" smtClean="0"/>
              <a:t>Code:</a:t>
            </a:r>
          </a:p>
          <a:p>
            <a:pPr lvl="1"/>
            <a:r>
              <a:rPr lang="en-US" altLang="zh-CN" sz="1600" dirty="0" smtClean="0">
                <a:hlinkClick r:id="rId3" action="ppaction://hlinkfile"/>
              </a:rPr>
              <a:t>..\..\MS\04_Delivery\03_InitModel_NonRegulatizedGLM\02 Code\</a:t>
            </a:r>
            <a:r>
              <a:rPr lang="en-US" altLang="zh-CN" sz="1600" dirty="0" err="1" smtClean="0">
                <a:hlinkClick r:id="rId3" action="ppaction://hlinkfile"/>
              </a:rPr>
              <a:t>InitModel</a:t>
            </a:r>
            <a:r>
              <a:rPr lang="en-US" altLang="zh-CN" sz="1600" dirty="0" smtClean="0">
                <a:hlinkClick r:id="rId3" action="ppaction://hlinkfile"/>
              </a:rPr>
              <a:t>\functions</a:t>
            </a:r>
            <a:endParaRPr lang="en-US" altLang="zh-CN" sz="16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1273629" y="1257376"/>
            <a:ext cx="5725885" cy="3918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Arial"/>
              </a:rPr>
              <a:t>Model dataset</a:t>
            </a:r>
          </a:p>
        </p:txBody>
      </p:sp>
      <p:sp>
        <p:nvSpPr>
          <p:cNvPr id="6" name="Rectangle 5"/>
          <p:cNvSpPr/>
          <p:nvPr/>
        </p:nvSpPr>
        <p:spPr>
          <a:xfrm>
            <a:off x="1272575" y="1950605"/>
            <a:ext cx="4542971" cy="74554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/>
              </a:rPr>
              <a:t>80% used as </a:t>
            </a:r>
          </a:p>
          <a:p>
            <a:pPr algn="ctr"/>
            <a:r>
              <a:rPr lang="en-US" sz="1400" b="1" dirty="0" smtClean="0">
                <a:latin typeface="Arial"/>
              </a:rPr>
              <a:t>training data</a:t>
            </a:r>
          </a:p>
        </p:txBody>
      </p:sp>
      <p:sp>
        <p:nvSpPr>
          <p:cNvPr id="7" name="Rectangle 6"/>
          <p:cNvSpPr/>
          <p:nvPr/>
        </p:nvSpPr>
        <p:spPr>
          <a:xfrm>
            <a:off x="5960829" y="1932317"/>
            <a:ext cx="1038686" cy="74554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/>
              </a:rPr>
              <a:t>20% used as </a:t>
            </a:r>
            <a:r>
              <a:rPr lang="en-US" sz="1400" b="1" dirty="0" smtClean="0">
                <a:latin typeface="Arial"/>
              </a:rPr>
              <a:t>testing </a:t>
            </a:r>
          </a:p>
          <a:p>
            <a:pPr algn="ctr"/>
            <a:r>
              <a:rPr lang="en-US" sz="1400" b="1" dirty="0" smtClean="0">
                <a:latin typeface="Arial"/>
              </a:rPr>
              <a:t>data</a:t>
            </a:r>
          </a:p>
        </p:txBody>
      </p:sp>
      <p:sp>
        <p:nvSpPr>
          <p:cNvPr id="9" name="Right Arrow 8"/>
          <p:cNvSpPr/>
          <p:nvPr/>
        </p:nvSpPr>
        <p:spPr>
          <a:xfrm rot="5400000">
            <a:off x="3386217" y="1554772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10" name="Right Arrow 9"/>
          <p:cNvSpPr/>
          <p:nvPr/>
        </p:nvSpPr>
        <p:spPr>
          <a:xfrm rot="5400000">
            <a:off x="6322329" y="1565666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002651"/>
              </p:ext>
            </p:extLst>
          </p:nvPr>
        </p:nvGraphicFramePr>
        <p:xfrm>
          <a:off x="1272575" y="3092243"/>
          <a:ext cx="4542970" cy="37084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908594"/>
                <a:gridCol w="908594"/>
                <a:gridCol w="908594"/>
                <a:gridCol w="908594"/>
                <a:gridCol w="90859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i="0" dirty="0" smtClean="0"/>
                        <a:t>1/5</a:t>
                      </a:r>
                      <a:endParaRPr lang="en-US" sz="140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/5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Left Brace 11"/>
          <p:cNvSpPr/>
          <p:nvPr/>
        </p:nvSpPr>
        <p:spPr>
          <a:xfrm rot="5400000">
            <a:off x="3407427" y="582358"/>
            <a:ext cx="274320" cy="4541917"/>
          </a:xfrm>
          <a:prstGeom prst="leftBrace">
            <a:avLst/>
          </a:prstGeom>
          <a:noFill/>
          <a:ln w="12700" cmpd="sng">
            <a:solidFill>
              <a:srgbClr val="1C298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272575" y="3788225"/>
            <a:ext cx="4542971" cy="104644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Ins="36000" rtlCol="0">
            <a:spAutoFit/>
          </a:bodyPr>
          <a:lstStyle/>
          <a:p>
            <a:r>
              <a:rPr lang="en-US" sz="1400" b="1" u="sng" dirty="0" smtClean="0">
                <a:solidFill>
                  <a:srgbClr val="000000"/>
                </a:solidFill>
                <a:latin typeface="Arial"/>
              </a:rPr>
              <a:t>5-fold cross-validation (CV):</a:t>
            </a:r>
          </a:p>
          <a:p>
            <a:pPr marL="119063" indent="-119063"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1/5 of the training data was used as validation data to test the model performance</a:t>
            </a:r>
          </a:p>
          <a:p>
            <a:pPr marL="119063" indent="-119063"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4/5 of the training data was used as sub-training data, hence altogether yielding 5 sub-training datasets</a:t>
            </a:r>
          </a:p>
        </p:txBody>
      </p:sp>
      <p:sp>
        <p:nvSpPr>
          <p:cNvPr id="14" name="Right Arrow 13"/>
          <p:cNvSpPr/>
          <p:nvPr/>
        </p:nvSpPr>
        <p:spPr>
          <a:xfrm rot="5400000">
            <a:off x="1556664" y="3397775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15" name="Right Arrow 14"/>
          <p:cNvSpPr/>
          <p:nvPr/>
        </p:nvSpPr>
        <p:spPr>
          <a:xfrm rot="5400000">
            <a:off x="2465621" y="3397775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16" name="Right Arrow 15"/>
          <p:cNvSpPr/>
          <p:nvPr/>
        </p:nvSpPr>
        <p:spPr>
          <a:xfrm rot="5400000">
            <a:off x="3374578" y="3397775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17" name="Right Arrow 16"/>
          <p:cNvSpPr/>
          <p:nvPr/>
        </p:nvSpPr>
        <p:spPr>
          <a:xfrm rot="5400000">
            <a:off x="4283535" y="3397775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18" name="Right Arrow 17"/>
          <p:cNvSpPr/>
          <p:nvPr/>
        </p:nvSpPr>
        <p:spPr>
          <a:xfrm rot="5400000">
            <a:off x="5192492" y="3397775"/>
            <a:ext cx="315686" cy="446302"/>
          </a:xfrm>
          <a:prstGeom prst="rightArrow">
            <a:avLst/>
          </a:prstGeom>
          <a:solidFill>
            <a:srgbClr val="1C29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75421" y="1667766"/>
            <a:ext cx="2273389" cy="2039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tratify sampling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5916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MS – </a:t>
            </a:r>
            <a:r>
              <a:rPr lang="en-US" altLang="zh-CN" dirty="0"/>
              <a:t>Variable exploration</a:t>
            </a:r>
            <a:endParaRPr lang="zh-CN" altLang="zh-CN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102131000"/>
              </p:ext>
            </p:extLst>
          </p:nvPr>
        </p:nvGraphicFramePr>
        <p:xfrm>
          <a:off x="563974" y="1031240"/>
          <a:ext cx="8137826" cy="5323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0157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MS – </a:t>
            </a:r>
            <a:r>
              <a:rPr lang="en-US" altLang="zh-CN" dirty="0"/>
              <a:t>Variable exploration</a:t>
            </a:r>
            <a:endParaRPr lang="zh-CN" altLang="zh-CN" dirty="0"/>
          </a:p>
        </p:txBody>
      </p:sp>
      <p:sp>
        <p:nvSpPr>
          <p:cNvPr id="8" name="Rectangle 5"/>
          <p:cNvSpPr/>
          <p:nvPr/>
        </p:nvSpPr>
        <p:spPr>
          <a:xfrm>
            <a:off x="710374" y="1087565"/>
            <a:ext cx="705003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endParaRPr lang="en-US" altLang="zh-CN" sz="1600" dirty="0" smtClean="0"/>
          </a:p>
          <a:p>
            <a:pPr lvl="1"/>
            <a:r>
              <a:rPr lang="en-US" altLang="zh-CN" sz="1600" dirty="0"/>
              <a:t>Results:</a:t>
            </a:r>
          </a:p>
          <a:p>
            <a:pPr lvl="1"/>
            <a:r>
              <a:rPr lang="en-US" altLang="zh-CN" sz="1600" dirty="0">
                <a:hlinkClick r:id="rId3" action="ppaction://hlinkfile"/>
              </a:rPr>
              <a:t>..\..\MS\04_Delivery\32_RF\03 Results\2016-08-03 08.02.16\</a:t>
            </a:r>
            <a:r>
              <a:rPr lang="en-US" altLang="zh-CN" sz="1600" dirty="0" err="1">
                <a:hlinkClick r:id="rId3" action="ppaction://hlinkfile"/>
              </a:rPr>
              <a:t>Cmp</a:t>
            </a:r>
            <a:r>
              <a:rPr lang="en-US" altLang="zh-CN" sz="1600" dirty="0">
                <a:hlinkClick r:id="rId3" action="ppaction://hlinkfile"/>
              </a:rPr>
              <a:t>\outcomes_grp_auc_tr_ts.csv</a:t>
            </a:r>
            <a:endParaRPr lang="en-US" altLang="zh-CN" sz="1600" dirty="0"/>
          </a:p>
          <a:p>
            <a:pPr lvl="1"/>
            <a:r>
              <a:rPr lang="en-US" altLang="zh-CN" sz="1600" dirty="0">
                <a:hlinkClick r:id="rId4" action="ppaction://hlinkfile"/>
              </a:rPr>
              <a:t>..\..\MS\result\Aug03\outcomes_grp_auc_tr_ts_Aug03.xlsx</a:t>
            </a:r>
            <a:endParaRPr lang="zh-CN" altLang="zh-CN" sz="1600" dirty="0"/>
          </a:p>
        </p:txBody>
      </p:sp>
    </p:spTree>
    <p:extLst>
      <p:ext uri="{BB962C8B-B14F-4D97-AF65-F5344CB8AC3E}">
        <p14:creationId xmlns:p14="http://schemas.microsoft.com/office/powerpoint/2010/main" val="3750991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when using easy positive weight, pay attention to make sure that the patient id and the observations you selected are consistent.</a:t>
            </a:r>
          </a:p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Avoid confusing coding</a:t>
            </a:r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me experience to share</a:t>
            </a:r>
            <a:endParaRPr lang="zh-CN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0014" y="3754024"/>
            <a:ext cx="6896100" cy="1828800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>
          <a:xfrm>
            <a:off x="5669280" y="2328138"/>
            <a:ext cx="1929384" cy="548640"/>
          </a:xfrm>
          <a:prstGeom prst="wedgeEllipseCallou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Bad coding</a:t>
            </a:r>
            <a:endParaRPr lang="zh-CN" altLang="en-US" dirty="0"/>
          </a:p>
        </p:txBody>
      </p:sp>
      <p:sp>
        <p:nvSpPr>
          <p:cNvPr id="11" name="Oval Callout 10"/>
          <p:cNvSpPr/>
          <p:nvPr/>
        </p:nvSpPr>
        <p:spPr>
          <a:xfrm>
            <a:off x="1426464" y="4325112"/>
            <a:ext cx="2891600" cy="1033272"/>
          </a:xfrm>
          <a:prstGeom prst="wedgeEllipseCallout">
            <a:avLst>
              <a:gd name="adj1" fmla="val 44942"/>
              <a:gd name="adj2" fmla="val -4723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Good coding</a:t>
            </a:r>
            <a:endParaRPr lang="zh-CN" alt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014" y="2962976"/>
            <a:ext cx="7203259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3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Add some qc code to make sure that the result of each step is what you want</a:t>
            </a:r>
          </a:p>
          <a:p>
            <a:endParaRPr lang="zh-CN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 experience to share</a:t>
            </a:r>
            <a:endParaRPr lang="zh-CN" alt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859" y="2272284"/>
            <a:ext cx="6905625" cy="1143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859" y="3528567"/>
            <a:ext cx="7994583" cy="10953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59" y="4730242"/>
            <a:ext cx="516255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49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00063" y="1611313"/>
            <a:ext cx="8275379" cy="4835207"/>
          </a:xfrm>
        </p:spPr>
        <p:txBody>
          <a:bodyPr/>
          <a:lstStyle/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Test the code using small dataset before running all dataset</a:t>
            </a:r>
          </a:p>
          <a:p>
            <a:pPr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>
              <a:buFont typeface="Wingdings" panose="05000000000000000000" pitchFamily="2" charset="2"/>
              <a:buChar char="l"/>
            </a:pPr>
            <a:endParaRPr lang="en-US" altLang="zh-CN" dirty="0" smtClean="0"/>
          </a:p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Use regular expression to help to concise your code (available in R, python and SAS)</a:t>
            </a:r>
          </a:p>
          <a:p>
            <a:pPr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>
              <a:buFont typeface="Wingdings" panose="05000000000000000000" pitchFamily="2" charset="2"/>
              <a:buChar char="l"/>
            </a:pPr>
            <a:endParaRPr lang="en-US" altLang="zh-CN" dirty="0" smtClean="0"/>
          </a:p>
          <a:p>
            <a:pPr>
              <a:buFont typeface="Wingdings" panose="05000000000000000000" pitchFamily="2" charset="2"/>
              <a:buChar char="l"/>
            </a:pPr>
            <a:endParaRPr lang="en-US" altLang="zh-CN" dirty="0"/>
          </a:p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In condition of multiple cores and time-consuming of code running, make good use of parallelization to shorten the running time, sometimes need to use nested parallelization to further speed up the running</a:t>
            </a:r>
          </a:p>
          <a:p>
            <a:pPr marL="0" indent="0">
              <a:buNone/>
            </a:pPr>
            <a:r>
              <a:rPr lang="en-US" altLang="zh-CN" dirty="0" smtClean="0"/>
              <a:t>  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me experience to share</a:t>
            </a:r>
            <a:endParaRPr lang="zh-CN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825" y="1977199"/>
            <a:ext cx="5018343" cy="62884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283" y="3856830"/>
            <a:ext cx="7964524" cy="19396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282" y="4119053"/>
            <a:ext cx="5910605" cy="3523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282" y="4570281"/>
            <a:ext cx="4886325" cy="23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76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00062" y="1040321"/>
            <a:ext cx="8025634" cy="916495"/>
          </a:xfrm>
        </p:spPr>
        <p:txBody>
          <a:bodyPr/>
          <a:lstStyle/>
          <a:p>
            <a:pPr>
              <a:buFont typeface="Wingdings" panose="05000000000000000000" pitchFamily="2" charset="2"/>
              <a:buChar char="l"/>
            </a:pPr>
            <a:r>
              <a:rPr lang="en-US" altLang="zh-CN" dirty="0" smtClean="0"/>
              <a:t>If the memory usage is large due to the big dataset, split the data into small parts, then parallelize the whole process with all parts at the same time</a:t>
            </a:r>
          </a:p>
          <a:p>
            <a:pPr marL="0" indent="0">
              <a:buNone/>
            </a:pPr>
            <a:r>
              <a:rPr lang="en-US" altLang="zh-CN" dirty="0" smtClean="0"/>
              <a:t>  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me experience to share</a:t>
            </a:r>
            <a:endParaRPr lang="zh-CN" alt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862729595"/>
              </p:ext>
            </p:extLst>
          </p:nvPr>
        </p:nvGraphicFramePr>
        <p:xfrm>
          <a:off x="1035111" y="67357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1365431" y="4160520"/>
            <a:ext cx="713232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re1</a:t>
            </a:r>
            <a:endParaRPr lang="zh-CN" altLang="en-US" dirty="0"/>
          </a:p>
        </p:txBody>
      </p:sp>
      <p:sp>
        <p:nvSpPr>
          <p:cNvPr id="14" name="Rectangle 13"/>
          <p:cNvSpPr/>
          <p:nvPr/>
        </p:nvSpPr>
        <p:spPr>
          <a:xfrm>
            <a:off x="2679119" y="4156964"/>
            <a:ext cx="713232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re2</a:t>
            </a:r>
            <a:endParaRPr lang="zh-CN" altLang="en-US" dirty="0"/>
          </a:p>
        </p:txBody>
      </p:sp>
      <p:sp>
        <p:nvSpPr>
          <p:cNvPr id="15" name="Rectangle 14"/>
          <p:cNvSpPr/>
          <p:nvPr/>
        </p:nvSpPr>
        <p:spPr>
          <a:xfrm>
            <a:off x="3870887" y="4156964"/>
            <a:ext cx="713232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re…</a:t>
            </a:r>
            <a:endParaRPr lang="zh-CN" altLang="en-US" dirty="0"/>
          </a:p>
        </p:txBody>
      </p:sp>
      <p:sp>
        <p:nvSpPr>
          <p:cNvPr id="16" name="Rectangle 15"/>
          <p:cNvSpPr/>
          <p:nvPr/>
        </p:nvSpPr>
        <p:spPr>
          <a:xfrm>
            <a:off x="5221005" y="4156964"/>
            <a:ext cx="713232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re49</a:t>
            </a:r>
            <a:endParaRPr lang="zh-CN" altLang="en-US" dirty="0"/>
          </a:p>
        </p:txBody>
      </p:sp>
      <p:sp>
        <p:nvSpPr>
          <p:cNvPr id="17" name="Rectangle 16"/>
          <p:cNvSpPr/>
          <p:nvPr/>
        </p:nvSpPr>
        <p:spPr>
          <a:xfrm>
            <a:off x="6388389" y="4162552"/>
            <a:ext cx="713232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re50</a:t>
            </a:r>
            <a:endParaRPr lang="zh-CN" altLang="en-US" dirty="0"/>
          </a:p>
        </p:txBody>
      </p:sp>
      <p:cxnSp>
        <p:nvCxnSpPr>
          <p:cNvPr id="19" name="Straight Arrow Connector 18"/>
          <p:cNvCxnSpPr>
            <a:endCxn id="13" idx="0"/>
          </p:cNvCxnSpPr>
          <p:nvPr/>
        </p:nvCxnSpPr>
        <p:spPr>
          <a:xfrm>
            <a:off x="1722047" y="3739896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2932176" y="3736340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4227503" y="3736340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5474062" y="3736340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6745005" y="3736340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549893" y="5091367"/>
            <a:ext cx="1450307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Prediction of part1</a:t>
            </a:r>
            <a:endParaRPr lang="zh-CN" altLang="en-US" dirty="0"/>
          </a:p>
        </p:txBody>
      </p:sp>
      <p:sp>
        <p:nvSpPr>
          <p:cNvPr id="25" name="Rectangle 24"/>
          <p:cNvSpPr/>
          <p:nvPr/>
        </p:nvSpPr>
        <p:spPr>
          <a:xfrm>
            <a:off x="2142658" y="5084255"/>
            <a:ext cx="1350118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rediction of </a:t>
            </a:r>
            <a:r>
              <a:rPr lang="en-US" altLang="zh-CN" dirty="0" smtClean="0"/>
              <a:t>part2</a:t>
            </a:r>
            <a:endParaRPr lang="zh-CN" altLang="en-US" dirty="0"/>
          </a:p>
        </p:txBody>
      </p:sp>
      <p:sp>
        <p:nvSpPr>
          <p:cNvPr id="26" name="Rectangle 25"/>
          <p:cNvSpPr/>
          <p:nvPr/>
        </p:nvSpPr>
        <p:spPr>
          <a:xfrm>
            <a:off x="3544801" y="5077015"/>
            <a:ext cx="1450307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rediction of </a:t>
            </a:r>
            <a:r>
              <a:rPr lang="en-US" altLang="zh-CN" dirty="0" smtClean="0"/>
              <a:t>part…</a:t>
            </a:r>
            <a:endParaRPr lang="zh-CN" altLang="en-US" dirty="0"/>
          </a:p>
        </p:txBody>
      </p:sp>
      <p:sp>
        <p:nvSpPr>
          <p:cNvPr id="27" name="Rectangle 26"/>
          <p:cNvSpPr/>
          <p:nvPr/>
        </p:nvSpPr>
        <p:spPr>
          <a:xfrm>
            <a:off x="5057039" y="5068316"/>
            <a:ext cx="1447653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rediction of </a:t>
            </a:r>
            <a:r>
              <a:rPr lang="en-US" altLang="zh-CN" dirty="0" smtClean="0"/>
              <a:t>part49</a:t>
            </a:r>
            <a:endParaRPr lang="zh-CN" altLang="en-US" dirty="0"/>
          </a:p>
        </p:txBody>
      </p:sp>
      <p:sp>
        <p:nvSpPr>
          <p:cNvPr id="28" name="Rectangle 27"/>
          <p:cNvSpPr/>
          <p:nvPr/>
        </p:nvSpPr>
        <p:spPr>
          <a:xfrm>
            <a:off x="6567062" y="5068316"/>
            <a:ext cx="1778611" cy="48463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Prediction of </a:t>
            </a:r>
            <a:r>
              <a:rPr lang="en-US" altLang="zh-CN" dirty="0" smtClean="0"/>
              <a:t>part50</a:t>
            </a:r>
            <a:endParaRPr lang="zh-CN" altLang="en-US" dirty="0"/>
          </a:p>
        </p:txBody>
      </p:sp>
      <p:cxnSp>
        <p:nvCxnSpPr>
          <p:cNvPr id="29" name="Straight Arrow Connector 28"/>
          <p:cNvCxnSpPr/>
          <p:nvPr/>
        </p:nvCxnSpPr>
        <p:spPr>
          <a:xfrm>
            <a:off x="1692945" y="4698904"/>
            <a:ext cx="3243" cy="3767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2956560" y="4647692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4251887" y="4647692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5498446" y="4647692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6769389" y="4647692"/>
            <a:ext cx="0" cy="420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Down Arrow 38"/>
          <p:cNvSpPr/>
          <p:nvPr/>
        </p:nvSpPr>
        <p:spPr>
          <a:xfrm>
            <a:off x="3945246" y="5550408"/>
            <a:ext cx="489594" cy="274320"/>
          </a:xfrm>
          <a:prstGeom prst="down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Rounded Rectangle 39"/>
          <p:cNvSpPr/>
          <p:nvPr/>
        </p:nvSpPr>
        <p:spPr>
          <a:xfrm>
            <a:off x="3012469" y="5833872"/>
            <a:ext cx="2479881" cy="775766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Prediction of whole dataset</a:t>
            </a:r>
            <a:endParaRPr lang="zh-CN" altLang="en-US" dirty="0"/>
          </a:p>
        </p:txBody>
      </p:sp>
      <p:sp>
        <p:nvSpPr>
          <p:cNvPr id="41" name="Cloud Callout 40"/>
          <p:cNvSpPr/>
          <p:nvPr/>
        </p:nvSpPr>
        <p:spPr>
          <a:xfrm>
            <a:off x="4846319" y="1626844"/>
            <a:ext cx="3919393" cy="1235227"/>
          </a:xfrm>
          <a:prstGeom prst="cloudCallou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n example of getting the prediction of a big dataset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7712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To avoid changing the old result folder, use time stamp to name the folder of each run</a:t>
            </a:r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/>
              <a:t>A</a:t>
            </a:r>
            <a:r>
              <a:rPr lang="en-US" altLang="zh-CN" dirty="0" smtClean="0"/>
              <a:t>void using for loop, and use function as far as possib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dirty="0" smtClean="0"/>
              <a:t>Safet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altLang="zh-CN" dirty="0" smtClean="0"/>
              <a:t>speed</a:t>
            </a:r>
          </a:p>
          <a:p>
            <a:r>
              <a:rPr lang="en-US" altLang="zh-CN" dirty="0"/>
              <a:t>Make use of </a:t>
            </a:r>
            <a:r>
              <a:rPr lang="en-US" altLang="zh-CN" dirty="0" err="1"/>
              <a:t>git</a:t>
            </a:r>
            <a:r>
              <a:rPr lang="en-US" altLang="zh-CN" dirty="0"/>
              <a:t> to save every step of your coding, so that you can trace back every </a:t>
            </a:r>
            <a:r>
              <a:rPr lang="en-US" altLang="zh-CN" dirty="0" smtClean="0"/>
              <a:t>modification </a:t>
            </a:r>
            <a:r>
              <a:rPr lang="en-US" altLang="zh-CN" dirty="0"/>
              <a:t>of your code</a:t>
            </a:r>
            <a:endParaRPr lang="zh-CN" altLang="en-US" dirty="0"/>
          </a:p>
          <a:p>
            <a:endParaRPr lang="en-US" altLang="zh-CN" dirty="0"/>
          </a:p>
          <a:p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    </a:t>
            </a:r>
          </a:p>
          <a:p>
            <a:pPr marL="0" indent="0">
              <a:buNone/>
            </a:pPr>
            <a:endParaRPr lang="en-US" altLang="zh-C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 2016, IMS HEALTH – Promotional effectiveness &amp; best-practice marketing mix – May 6th 2016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ome experience to share</a:t>
            </a:r>
            <a:endParaRPr lang="zh-CN" alt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331" y="2241423"/>
            <a:ext cx="7210425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524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Objective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00062" y="1700213"/>
            <a:ext cx="705003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altLang="zh-CN" sz="1600" dirty="0"/>
              <a:t>T</a:t>
            </a:r>
            <a:r>
              <a:rPr lang="en-GB" altLang="zh-CN" sz="1600" dirty="0" smtClean="0"/>
              <a:t>o </a:t>
            </a:r>
            <a:r>
              <a:rPr lang="en-GB" altLang="zh-CN" sz="1600" dirty="0"/>
              <a:t>develop an algorithm to identify potentially undiagnosed HAE patients and then link them to treating HCPs</a:t>
            </a:r>
            <a:endParaRPr lang="zh-CN" altLang="zh-CN" sz="1600" dirty="0"/>
          </a:p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Oval Callout 1"/>
          <p:cNvSpPr/>
          <p:nvPr/>
        </p:nvSpPr>
        <p:spPr>
          <a:xfrm>
            <a:off x="2359152" y="3401568"/>
            <a:ext cx="5440680" cy="1271016"/>
          </a:xfrm>
          <a:prstGeom prst="wedgeEllipseCallout">
            <a:avLst>
              <a:gd name="adj1" fmla="val -45474"/>
              <a:gd name="adj2" fmla="val -76349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olidFill>
                  <a:srgbClr val="002060"/>
                </a:solidFill>
              </a:rPr>
              <a:t>HAE is a rare hereditary condition. Since it is rare, physicians rarely encounter patients with this condition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551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 smtClean="0"/>
              <a:t>dataset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00062" y="3903946"/>
            <a:ext cx="7050030" cy="416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0350" lvl="1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sz="1600" dirty="0" smtClean="0">
                <a:latin typeface="Arial" pitchFamily="34" charset="0"/>
                <a:cs typeface="Arial" pitchFamily="34" charset="0"/>
                <a:hlinkClick r:id="rId3" action="ppaction://hlinkfile"/>
              </a:rPr>
              <a:t>..\..\Shire\follow-up\03_results\Apr05\Apr14\summary_Apr14.xlsx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0062" y="1308676"/>
            <a:ext cx="4970835" cy="46692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altLang="zh-CN" sz="1600" dirty="0"/>
              <a:t>Confirmed HAE / positive patients </a:t>
            </a:r>
            <a:r>
              <a:rPr lang="en-GB" altLang="zh-CN" sz="1600" dirty="0" smtClean="0"/>
              <a:t>(~1K)</a:t>
            </a:r>
            <a:endParaRPr lang="en-GB" altLang="zh-CN" sz="1600" dirty="0"/>
          </a:p>
        </p:txBody>
      </p:sp>
      <p:sp>
        <p:nvSpPr>
          <p:cNvPr id="12" name="Rectangle 11"/>
          <p:cNvSpPr/>
          <p:nvPr/>
        </p:nvSpPr>
        <p:spPr>
          <a:xfrm>
            <a:off x="587611" y="1926839"/>
            <a:ext cx="4883285" cy="46692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altLang="zh-CN" sz="1600" dirty="0"/>
              <a:t>A ~200K subset of the negative patien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87611" y="2554730"/>
            <a:ext cx="4883285" cy="46692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altLang="zh-CN" sz="1600" dirty="0"/>
              <a:t>A ~3M subset of negative patien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87611" y="3179277"/>
            <a:ext cx="4883285" cy="46692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7675" lvl="1" indent="-187325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altLang="zh-CN" sz="1600" dirty="0"/>
              <a:t>Non-HAE / negative patients (~123M)</a:t>
            </a:r>
          </a:p>
        </p:txBody>
      </p:sp>
      <p:sp>
        <p:nvSpPr>
          <p:cNvPr id="15" name="Right Brace 14"/>
          <p:cNvSpPr/>
          <p:nvPr/>
        </p:nvSpPr>
        <p:spPr>
          <a:xfrm>
            <a:off x="5470896" y="1478604"/>
            <a:ext cx="219785" cy="739302"/>
          </a:xfrm>
          <a:prstGeom prst="rightBrac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Rectangle 15"/>
          <p:cNvSpPr/>
          <p:nvPr/>
        </p:nvSpPr>
        <p:spPr>
          <a:xfrm>
            <a:off x="5924144" y="1700213"/>
            <a:ext cx="1713497" cy="37177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raining data</a:t>
            </a:r>
            <a:endParaRPr lang="zh-CN" altLang="en-US" dirty="0"/>
          </a:p>
        </p:txBody>
      </p:sp>
      <p:sp>
        <p:nvSpPr>
          <p:cNvPr id="17" name="Rectangle 16"/>
          <p:cNvSpPr/>
          <p:nvPr/>
        </p:nvSpPr>
        <p:spPr>
          <a:xfrm>
            <a:off x="5924143" y="2602305"/>
            <a:ext cx="2042810" cy="37177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mall test data</a:t>
            </a:r>
            <a:endParaRPr lang="zh-CN" altLang="en-US" dirty="0"/>
          </a:p>
        </p:txBody>
      </p:sp>
      <p:sp>
        <p:nvSpPr>
          <p:cNvPr id="18" name="Rectangle 17"/>
          <p:cNvSpPr/>
          <p:nvPr/>
        </p:nvSpPr>
        <p:spPr>
          <a:xfrm>
            <a:off x="5924143" y="3195692"/>
            <a:ext cx="2616742" cy="36965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inal large test data</a:t>
            </a:r>
            <a:endParaRPr lang="zh-CN" alt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5470896" y="2782111"/>
            <a:ext cx="336517" cy="97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5458644" y="3426575"/>
            <a:ext cx="336517" cy="97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54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 smtClean="0"/>
              <a:t>feature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500061" y="1700213"/>
            <a:ext cx="8186739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 smtClean="0"/>
              <a:t>Feature structure – demographic, diagnosis, procedure, </a:t>
            </a:r>
            <a:r>
              <a:rPr lang="en-GB" altLang="zh-CN" sz="1600" dirty="0" err="1" smtClean="0"/>
              <a:t>rx</a:t>
            </a:r>
            <a:endParaRPr lang="en-GB" altLang="zh-CN" sz="1600" dirty="0" smtClean="0"/>
          </a:p>
          <a:p>
            <a:pPr marL="260350" lvl="1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Show some data description:</a:t>
            </a:r>
          </a:p>
          <a:p>
            <a:pPr marL="260350" lvl="1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US" altLang="zh-CN" sz="1600" dirty="0">
                <a:latin typeface="Arial" pitchFamily="34" charset="0"/>
                <a:cs typeface="Arial" pitchFamily="34" charset="0"/>
                <a:hlinkClick r:id="rId3" action="ppaction://hlinkfile"/>
              </a:rPr>
              <a:t>..\..\Shire\follow-up\01_data\variable_for_presentation.xlsx</a:t>
            </a:r>
            <a:endParaRPr lang="en-US" altLang="zh-CN" sz="1600" dirty="0">
              <a:latin typeface="Arial" pitchFamily="34" charset="0"/>
              <a:cs typeface="Arial" pitchFamily="34" charset="0"/>
            </a:endParaRPr>
          </a:p>
          <a:p>
            <a:pPr lvl="2"/>
            <a:endParaRPr lang="en-GB" altLang="zh-CN" sz="1600" dirty="0" smtClean="0"/>
          </a:p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 smtClean="0"/>
              <a:t>feature </a:t>
            </a:r>
            <a:r>
              <a:rPr lang="en-GB" altLang="zh-CN" sz="1600" dirty="0"/>
              <a:t>selection and transformation</a:t>
            </a:r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 smtClean="0"/>
              <a:t>Removing any ‘REGION’ information</a:t>
            </a:r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 smtClean="0"/>
              <a:t>Breaking AGE into 4 similar-sized levels (12 – 29, 30 – 49, 50 – 69 and &gt;= 70)</a:t>
            </a:r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 smtClean="0"/>
              <a:t>Removing </a:t>
            </a:r>
            <a:r>
              <a:rPr lang="en-GB" altLang="zh-CN" sz="1600" dirty="0"/>
              <a:t>features using prior knowledge</a:t>
            </a:r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/>
              <a:t>Removing collinear features</a:t>
            </a:r>
            <a:endParaRPr lang="en-US" altLang="zh-CN" sz="1600" dirty="0"/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/>
              <a:t>Capping</a:t>
            </a:r>
          </a:p>
          <a:p>
            <a:pPr marL="1657350" lvl="3" indent="-285750">
              <a:buFont typeface="Wingdings" panose="05000000000000000000" pitchFamily="2" charset="2"/>
              <a:buChar char="ü"/>
            </a:pPr>
            <a:r>
              <a:rPr lang="en-GB" altLang="zh-CN" sz="1600" dirty="0" smtClean="0"/>
              <a:t>Normalisation</a:t>
            </a:r>
          </a:p>
          <a:p>
            <a:pPr lvl="3"/>
            <a:r>
              <a:rPr lang="en-GB" altLang="zh-CN" sz="1600" dirty="0" smtClean="0"/>
              <a:t>Results:</a:t>
            </a:r>
          </a:p>
          <a:p>
            <a:pPr lvl="3"/>
            <a:r>
              <a:rPr lang="en-US" altLang="zh-CN" sz="1600" dirty="0" smtClean="0">
                <a:hlinkClick r:id="rId4" action="ppaction://hlinkfile"/>
              </a:rPr>
              <a:t>..\..\Shire\follow-up\03_results\feature filter.xlsx</a:t>
            </a:r>
          </a:p>
        </p:txBody>
      </p:sp>
    </p:spTree>
    <p:extLst>
      <p:ext uri="{BB962C8B-B14F-4D97-AF65-F5344CB8AC3E}">
        <p14:creationId xmlns:p14="http://schemas.microsoft.com/office/powerpoint/2010/main" val="2009812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8662" y="1"/>
            <a:ext cx="8265651" cy="420624"/>
          </a:xfrm>
        </p:spPr>
        <p:txBody>
          <a:bodyPr/>
          <a:lstStyle/>
          <a:p>
            <a:r>
              <a:rPr lang="en-US" dirty="0" smtClean="0"/>
              <a:t>Shire HAE follow-up – Model (</a:t>
            </a:r>
            <a:r>
              <a:rPr lang="en-GB" altLang="zh-CN" dirty="0" smtClean="0"/>
              <a:t>Bagging </a:t>
            </a:r>
            <a:r>
              <a:rPr lang="en-GB" altLang="zh-CN" dirty="0" err="1"/>
              <a:t>randomForest</a:t>
            </a:r>
            <a:r>
              <a:rPr lang="en-GB" altLang="zh-CN" dirty="0"/>
              <a:t> </a:t>
            </a:r>
            <a:r>
              <a:rPr lang="en-GB" altLang="zh-CN" dirty="0" smtClean="0"/>
              <a:t>modelling)</a:t>
            </a:r>
            <a:endParaRPr lang="en-US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93712150"/>
              </p:ext>
            </p:extLst>
          </p:nvPr>
        </p:nvGraphicFramePr>
        <p:xfrm>
          <a:off x="239682" y="481327"/>
          <a:ext cx="6236689" cy="5440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 2"/>
          <p:cNvSpPr/>
          <p:nvPr/>
        </p:nvSpPr>
        <p:spPr>
          <a:xfrm>
            <a:off x="5954308" y="2436779"/>
            <a:ext cx="593387" cy="33074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pos</a:t>
            </a:r>
            <a:endParaRPr lang="zh-CN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6770441" y="1786647"/>
            <a:ext cx="894943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part1</a:t>
            </a:r>
            <a:endParaRPr lang="zh-CN" altLang="en-US" dirty="0"/>
          </a:p>
        </p:txBody>
      </p:sp>
      <p:sp>
        <p:nvSpPr>
          <p:cNvPr id="7" name="Rectangle 6"/>
          <p:cNvSpPr/>
          <p:nvPr/>
        </p:nvSpPr>
        <p:spPr>
          <a:xfrm>
            <a:off x="6770440" y="2481364"/>
            <a:ext cx="894943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part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770441" y="3142034"/>
            <a:ext cx="894943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Part…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819083" y="3847289"/>
            <a:ext cx="963037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part10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624526" y="1128409"/>
            <a:ext cx="933855" cy="291829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Neg</a:t>
            </a:r>
            <a:endParaRPr lang="zh-CN" altLang="en-US" dirty="0"/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7120636" y="1453475"/>
            <a:ext cx="0" cy="2975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6624526" y="2117387"/>
            <a:ext cx="77821" cy="3923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endCxn id="7" idx="1"/>
          </p:cNvCxnSpPr>
          <p:nvPr/>
        </p:nvCxnSpPr>
        <p:spPr>
          <a:xfrm>
            <a:off x="6581741" y="2646734"/>
            <a:ext cx="1886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endCxn id="9" idx="1"/>
          </p:cNvCxnSpPr>
          <p:nvPr/>
        </p:nvCxnSpPr>
        <p:spPr>
          <a:xfrm>
            <a:off x="6547695" y="2818994"/>
            <a:ext cx="222746" cy="488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6547695" y="2856498"/>
            <a:ext cx="222745" cy="11375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6" idx="3"/>
          </p:cNvCxnSpPr>
          <p:nvPr/>
        </p:nvCxnSpPr>
        <p:spPr>
          <a:xfrm>
            <a:off x="7665384" y="1952017"/>
            <a:ext cx="1945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7681596" y="2646734"/>
            <a:ext cx="1945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7632956" y="3307404"/>
            <a:ext cx="1945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7804812" y="3981045"/>
            <a:ext cx="1945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7868676" y="1786647"/>
            <a:ext cx="1011679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odel1</a:t>
            </a:r>
            <a:endParaRPr lang="zh-CN" altLang="en-US" dirty="0"/>
          </a:p>
        </p:txBody>
      </p:sp>
      <p:sp>
        <p:nvSpPr>
          <p:cNvPr id="34" name="Rectangle 33"/>
          <p:cNvSpPr/>
          <p:nvPr/>
        </p:nvSpPr>
        <p:spPr>
          <a:xfrm>
            <a:off x="7868675" y="2481364"/>
            <a:ext cx="1011680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Model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902089" y="3142034"/>
            <a:ext cx="1057075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Model…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7985422" y="3836751"/>
            <a:ext cx="1158578" cy="33074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Model10</a:t>
            </a:r>
            <a:endParaRPr lang="zh-CN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68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- </a:t>
            </a:r>
            <a:r>
              <a:rPr lang="en-GB" altLang="zh-CN" dirty="0"/>
              <a:t>Evaluation / </a:t>
            </a:r>
            <a:r>
              <a:rPr lang="en-GB" altLang="zh-CN" dirty="0" smtClean="0"/>
              <a:t>test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627095239"/>
              </p:ext>
            </p:extLst>
          </p:nvPr>
        </p:nvGraphicFramePr>
        <p:xfrm>
          <a:off x="682752" y="157988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5"/>
          <p:cNvSpPr/>
          <p:nvPr/>
        </p:nvSpPr>
        <p:spPr>
          <a:xfrm>
            <a:off x="-423482" y="1105853"/>
            <a:ext cx="7050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en-US" altLang="zh-CN" sz="1600" dirty="0" smtClean="0"/>
              <a:t>How to do the evaluation ? </a:t>
            </a:r>
            <a:endParaRPr lang="zh-CN" altLang="zh-CN" sz="1600" dirty="0"/>
          </a:p>
        </p:txBody>
      </p:sp>
      <p:sp>
        <p:nvSpPr>
          <p:cNvPr id="6" name="Rectangle 5"/>
          <p:cNvSpPr/>
          <p:nvPr/>
        </p:nvSpPr>
        <p:spPr>
          <a:xfrm>
            <a:off x="302845" y="5643880"/>
            <a:ext cx="705003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Results:</a:t>
            </a:r>
          </a:p>
          <a:p>
            <a:pPr lvl="1"/>
            <a:r>
              <a:rPr lang="en-US" altLang="zh-CN" sz="1600" dirty="0" smtClean="0">
                <a:latin typeface="Arial" pitchFamily="34" charset="0"/>
                <a:cs typeface="Arial" pitchFamily="34" charset="0"/>
                <a:hlinkClick r:id="rId8" action="ppaction://hlinkfile"/>
              </a:rPr>
              <a:t>..\..\Shire\follow-up\03_results\Apr05\Apr14\summary_Apr14.xlsx</a:t>
            </a:r>
            <a:endParaRPr lang="en-US" altLang="zh-CN" sz="1600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altLang="zh-CN" sz="1600" dirty="0" smtClean="0">
                <a:latin typeface="Arial" pitchFamily="34" charset="0"/>
                <a:cs typeface="Arial" pitchFamily="34" charset="0"/>
                <a:hlinkClick r:id="rId9" action="ppaction://hlinkfile"/>
              </a:rPr>
              <a:t>..\..\Shire\follow-up\03_results\May04\summary results based on the three new datasets May04.xlsx</a:t>
            </a:r>
            <a:endParaRPr lang="zh-CN" altLang="zh-CN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75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hire HAE follow-up - </a:t>
            </a:r>
            <a:r>
              <a:rPr lang="en-GB" altLang="zh-CN" dirty="0"/>
              <a:t>Evaluation / test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-423482" y="1105853"/>
            <a:ext cx="70500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en-US" altLang="zh-CN" sz="1600" dirty="0"/>
              <a:t>What is the model performance? </a:t>
            </a:r>
            <a:endParaRPr lang="zh-CN" altLang="zh-CN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5383" y="1630570"/>
            <a:ext cx="4496296" cy="4496296"/>
          </a:xfrm>
          <a:prstGeom prst="rect">
            <a:avLst/>
          </a:prstGeom>
        </p:spPr>
      </p:pic>
      <p:grpSp>
        <p:nvGrpSpPr>
          <p:cNvPr id="6" name="Group 25"/>
          <p:cNvGrpSpPr/>
          <p:nvPr/>
        </p:nvGrpSpPr>
        <p:grpSpPr>
          <a:xfrm>
            <a:off x="128173" y="2915378"/>
            <a:ext cx="5560998" cy="3921140"/>
            <a:chOff x="419100" y="2484462"/>
            <a:chExt cx="5560998" cy="3921140"/>
          </a:xfrm>
        </p:grpSpPr>
        <p:sp>
          <p:nvSpPr>
            <p:cNvPr id="7" name="TextBox 6"/>
            <p:cNvSpPr txBox="1"/>
            <p:nvPr/>
          </p:nvSpPr>
          <p:spPr>
            <a:xfrm>
              <a:off x="419100" y="2484463"/>
              <a:ext cx="1048874" cy="196977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Ins="36000" rtlCol="0">
              <a:spAutoFit/>
            </a:bodyPr>
            <a:lstStyle/>
            <a:p>
              <a:pPr algn="ctr"/>
              <a:endParaRPr lang="en-US" sz="1400" dirty="0" smtClean="0">
                <a:solidFill>
                  <a:srgbClr val="002060"/>
                </a:solidFill>
                <a:latin typeface="Arial"/>
              </a:endParaRPr>
            </a:p>
            <a:p>
              <a:pPr algn="ctr"/>
              <a:r>
                <a:rPr lang="en-US" sz="1400" dirty="0" smtClean="0">
                  <a:solidFill>
                    <a:srgbClr val="002060"/>
                  </a:solidFill>
                  <a:latin typeface="Arial"/>
                </a:rPr>
                <a:t>Of all patients who were flagged as HAE, what % actually have HAE?</a:t>
              </a:r>
            </a:p>
            <a:p>
              <a:pPr algn="ctr"/>
              <a:endParaRPr lang="en-US" sz="1000" dirty="0" smtClean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89391" y="5882382"/>
              <a:ext cx="2990707" cy="52322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Ins="36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2060"/>
                  </a:solidFill>
                  <a:latin typeface="Arial"/>
                </a:rPr>
                <a:t>What % of actual HAE patients were flagged as HAE by the model?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775138" y="3207734"/>
              <a:ext cx="1754326" cy="30778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Ins="36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2060"/>
                  </a:solidFill>
                  <a:latin typeface="Arial"/>
                </a:rPr>
                <a:t>Precision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989248" y="5569179"/>
              <a:ext cx="2990850" cy="31320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Ins="36000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2060"/>
                  </a:solidFill>
                  <a:latin typeface="Arial"/>
                </a:rPr>
                <a:t>Recall</a:t>
              </a:r>
            </a:p>
          </p:txBody>
        </p:sp>
      </p:grpSp>
      <p:cxnSp>
        <p:nvCxnSpPr>
          <p:cNvPr id="12" name="Straight Arrow Connector 11"/>
          <p:cNvCxnSpPr/>
          <p:nvPr/>
        </p:nvCxnSpPr>
        <p:spPr>
          <a:xfrm flipH="1">
            <a:off x="2448560" y="3002001"/>
            <a:ext cx="3907593" cy="869975"/>
          </a:xfrm>
          <a:prstGeom prst="straightConnector1">
            <a:avLst/>
          </a:prstGeom>
          <a:ln w="28575" cmpd="sng">
            <a:solidFill>
              <a:schemeClr val="accent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356152" y="1861660"/>
            <a:ext cx="2522030" cy="114034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rgbClr val="002060"/>
                </a:solidFill>
                <a:latin typeface="Arial"/>
              </a:rPr>
              <a:t>~5.2% Precision at </a:t>
            </a:r>
            <a:r>
              <a:rPr lang="en-US" sz="1200" b="1" dirty="0">
                <a:solidFill>
                  <a:srgbClr val="002060"/>
                </a:solidFill>
                <a:latin typeface="Arial"/>
              </a:rPr>
              <a:t>5</a:t>
            </a:r>
            <a:r>
              <a:rPr lang="en-US" sz="1200" b="1" dirty="0" smtClean="0">
                <a:solidFill>
                  <a:srgbClr val="002060"/>
                </a:solidFill>
                <a:latin typeface="Arial"/>
              </a:rPr>
              <a:t>% Recall:</a:t>
            </a:r>
          </a:p>
          <a:p>
            <a:r>
              <a:rPr lang="en-US" sz="1200" dirty="0" smtClean="0">
                <a:solidFill>
                  <a:srgbClr val="002060"/>
                </a:solidFill>
                <a:latin typeface="Arial"/>
              </a:rPr>
              <a:t>When the goal is to find </a:t>
            </a:r>
            <a:r>
              <a:rPr lang="en-US" sz="1200" dirty="0">
                <a:solidFill>
                  <a:srgbClr val="002060"/>
                </a:solidFill>
                <a:latin typeface="Arial"/>
              </a:rPr>
              <a:t>5</a:t>
            </a:r>
            <a:r>
              <a:rPr lang="en-US" sz="1200" dirty="0" smtClean="0">
                <a:solidFill>
                  <a:srgbClr val="002060"/>
                </a:solidFill>
                <a:latin typeface="Arial"/>
              </a:rPr>
              <a:t>% of all HAE patients, roughly every one patient in 20 patients in the modeling dataset is correctly identified as HA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52103" y="3237400"/>
            <a:ext cx="2526079" cy="954107"/>
          </a:xfrm>
          <a:prstGeom prst="rect">
            <a:avLst/>
          </a:prstGeom>
          <a:noFill/>
          <a:ln>
            <a:noFill/>
          </a:ln>
        </p:spPr>
        <p:txBody>
          <a:bodyPr wrap="square" rIns="3600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1400" dirty="0" smtClean="0">
                <a:solidFill>
                  <a:srgbClr val="002060"/>
                </a:solidFill>
              </a:rPr>
              <a:t>This compared to a “prevalence” of just </a:t>
            </a:r>
            <a:r>
              <a:rPr lang="en-GB" sz="1400" b="1" dirty="0" smtClean="0">
                <a:solidFill>
                  <a:srgbClr val="002060"/>
                </a:solidFill>
              </a:rPr>
              <a:t>0.5% </a:t>
            </a:r>
            <a:r>
              <a:rPr lang="en-GB" sz="1400" dirty="0" smtClean="0">
                <a:solidFill>
                  <a:srgbClr val="002060"/>
                </a:solidFill>
              </a:rPr>
              <a:t>for the modelling dataset as a whole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952013"/>
              </p:ext>
            </p:extLst>
          </p:nvPr>
        </p:nvGraphicFramePr>
        <p:xfrm>
          <a:off x="5891679" y="4373432"/>
          <a:ext cx="2946400" cy="1120140"/>
        </p:xfrm>
        <a:graphic>
          <a:graphicData uri="http://schemas.openxmlformats.org/drawingml/2006/table">
            <a:tbl>
              <a:tblPr/>
              <a:tblGrid>
                <a:gridCol w="736600"/>
                <a:gridCol w="839264"/>
                <a:gridCol w="633936"/>
                <a:gridCol w="736600"/>
              </a:tblGrid>
              <a:tr h="1600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err="1">
                          <a:solidFill>
                            <a:srgbClr val="E7E6E6"/>
                          </a:solidFill>
                          <a:effectLst/>
                          <a:latin typeface="Verdana" panose="020B0604030504040204" pitchFamily="34" charset="0"/>
                        </a:rPr>
                        <a:t>recallBkt</a:t>
                      </a:r>
                      <a:endParaRPr lang="en-US" sz="1000" b="1" i="0" u="none" strike="noStrike" dirty="0">
                        <a:solidFill>
                          <a:srgbClr val="E7E6E6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E7E6E6"/>
                          </a:solidFill>
                          <a:effectLst/>
                          <a:latin typeface="Verdana" panose="020B0604030504040204" pitchFamily="34" charset="0"/>
                        </a:rPr>
                        <a:t>score_av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E7E6E6"/>
                          </a:solidFill>
                          <a:effectLst/>
                          <a:latin typeface="Verdana" panose="020B0604030504040204" pitchFamily="34" charset="0"/>
                        </a:rPr>
                        <a:t>cnt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E7E6E6"/>
                          </a:solidFill>
                          <a:effectLst/>
                          <a:latin typeface="Verdana" panose="020B0604030504040204" pitchFamily="34" charset="0"/>
                        </a:rPr>
                        <a:t>TP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,0.05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9130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662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.05,0.1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8716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16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.1,0.15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83204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501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.15,0.2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7930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873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.2,0.25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7483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7342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0.25,0.3]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0.7051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755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3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7912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ire HAE follow-up – </a:t>
            </a:r>
            <a:r>
              <a:rPr lang="en-GB" altLang="zh-CN" dirty="0" smtClean="0"/>
              <a:t>additional investigation (similarity model)</a:t>
            </a:r>
            <a:endParaRPr lang="en-US" dirty="0"/>
          </a:p>
        </p:txBody>
      </p:sp>
      <p:sp>
        <p:nvSpPr>
          <p:cNvPr id="8" name="Rectangle 5"/>
          <p:cNvSpPr/>
          <p:nvPr/>
        </p:nvSpPr>
        <p:spPr>
          <a:xfrm>
            <a:off x="-555774" y="788987"/>
            <a:ext cx="705003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3"/>
            <a:endParaRPr lang="zh-CN" altLang="zh-CN" dirty="0" smtClean="0"/>
          </a:p>
          <a:p>
            <a:pPr marL="1200150" lvl="2" indent="-285750">
              <a:buFont typeface="Wingdings" panose="05000000000000000000" pitchFamily="2" charset="2"/>
              <a:buChar char="l"/>
            </a:pPr>
            <a:r>
              <a:rPr lang="en-GB" altLang="zh-CN" sz="1600" dirty="0">
                <a:latin typeface="Arial" pitchFamily="34" charset="0"/>
                <a:cs typeface="Arial" pitchFamily="34" charset="0"/>
              </a:rPr>
              <a:t>selection of negative patients similar to the positive class</a:t>
            </a:r>
          </a:p>
          <a:p>
            <a:pPr lvl="3"/>
            <a:r>
              <a:rPr lang="en-US" altLang="zh-CN" sz="1600" dirty="0" smtClean="0">
                <a:latin typeface="Arial" pitchFamily="34" charset="0"/>
                <a:cs typeface="Arial" pitchFamily="34" charset="0"/>
                <a:hlinkClick r:id="rId3" action="ppaction://hlinkfile"/>
              </a:rPr>
              <a:t>..\..\</a:t>
            </a:r>
            <a:r>
              <a:rPr lang="en-US" altLang="zh-CN" sz="1600" dirty="0">
                <a:latin typeface="Arial" pitchFamily="34" charset="0"/>
                <a:cs typeface="Arial" pitchFamily="34" charset="0"/>
                <a:hlinkClick r:id="rId3" action="ppaction://hlinkfile"/>
              </a:rPr>
              <a:t>Shire\follow-up\03_results\Mar28\perf_Similarity_Mar28.xlsx</a:t>
            </a:r>
            <a:endParaRPr lang="zh-CN" altLang="zh-CN" sz="16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76621150"/>
              </p:ext>
            </p:extLst>
          </p:nvPr>
        </p:nvGraphicFramePr>
        <p:xfrm>
          <a:off x="500062" y="2086247"/>
          <a:ext cx="555746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84182" y="1761538"/>
            <a:ext cx="3131820" cy="313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2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7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3.49174019272692560000E+000&quot;&gt;&lt;m_msothmcolidx val=&quot;0&quot;/&gt;&lt;m_rgb r=&quot;20&quot; g=&quot;C2&quot; b=&quot;2F&quot;/&gt;&lt;m_nBrightness val=&quot;0&quot;/&gt;&lt;/elem&gt;&lt;elem m_fUsage=&quot;2.41501170722811540000E+000&quot;&gt;&lt;m_msothmcolidx val=&quot;0&quot;/&gt;&lt;m_rgb r=&quot;C7&quot; g=&quot;F0&quot; b=&quot;CB&quot;/&gt;&lt;m_nBrightness val=&quot;0&quot;/&gt;&lt;/elem&gt;&lt;elem m_fUsage=&quot;1.20796753457729130000E+000&quot;&gt;&lt;m_msothmcolidx val=&quot;0&quot;/&gt;&lt;m_rgb r=&quot;37&quot; g=&quot;DA&quot; b=&quot;D3&quot;/&gt;&lt;m_nBrightness val=&quot;0&quot;/&gt;&lt;/elem&gt;&lt;elem m_fUsage=&quot;5.52264925653409010000E-001&quot;&gt;&lt;m_msothmcolidx val=&quot;0&quot;/&gt;&lt;m_rgb r=&quot;C9&quot; g=&quot;DE&quot; b=&quot;FE&quot;/&gt;&lt;m_nBrightness val=&quot;0&quot;/&gt;&lt;/elem&gt;&lt;elem m_fUsage=&quot;5.07121098709109490000E-001&quot;&gt;&lt;m_msothmcolidx val=&quot;0&quot;/&gt;&lt;m_rgb r=&quot;29&quot; g=&quot;7D&quot; b=&quot;FD&quot;/&gt;&lt;m_nBrightness val=&quot;0&quot;/&gt;&lt;/elem&gt;&lt;elem m_fUsage=&quot;4.43332630751637150000E-001&quot;&gt;&lt;m_msothmcolidx val=&quot;0&quot;/&gt;&lt;m_rgb r=&quot;3A&quot; g=&quot;4F&quot; b=&quot;5A&quot;/&gt;&lt;m_nBrightness val=&quot;0&quot;/&gt;&lt;/elem&gt;&lt;elem m_fUsage=&quot;4.36226141935511740000E-001&quot;&gt;&lt;m_msothmcolidx val=&quot;0&quot;/&gt;&lt;m_rgb r=&quot;C8&quot; g=&quot;EC&quot; b=&quot;FF&quot;/&gt;&lt;m_nBrightness val=&quot;0&quot;/&gt;&lt;/elem&gt;&lt;elem m_fUsage=&quot;2.30952061014345260000E-001&quot;&gt;&lt;m_msothmcolidx val=&quot;0&quot;/&gt;&lt;m_rgb r=&quot;CD&quot; g=&quot;F6&quot; b=&quot;F4&quot;/&gt;&lt;m_nBrightness val=&quot;0&quot;/&gt;&lt;/elem&gt;&lt;elem m_fUsage=&quot;1.83825095022216110000E-001&quot;&gt;&lt;m_msothmcolidx val=&quot;0&quot;/&gt;&lt;m_rgb r=&quot;CE&quot; g=&quot;D3&quot; b=&quot;D6&quot;/&gt;&lt;m_nBrightness val=&quot;0&quot;/&gt;&lt;/elem&gt;&lt;elem m_fUsage=&quot;1.59460219665938040000E-001&quot;&gt;&lt;m_msothmcolidx val=&quot;0&quot;/&gt;&lt;m_rgb r=&quot;FF&quot; g=&quot;94&quot; b=&quot;0C&quot;/&gt;&lt;m_nBrightness val=&quot;0&quot;/&gt;&lt;/elem&gt;&lt;elem m_fUsage=&quot;1.10621925311308640000E-001&quot;&gt;&lt;m_msothmcolidx val=&quot;0&quot;/&gt;&lt;m_rgb r=&quot;FE&quot; g=&quot;D3&quot; b=&quot;CD&quot;/&gt;&lt;m_nBrightness val=&quot;0&quot;/&gt;&lt;/elem&gt;&lt;elem m_fUsage=&quot;9.63887473547987980000E-002&quot;&gt;&lt;m_msothmcolidx val=&quot;0&quot;/&gt;&lt;m_rgb r=&quot;A2&quot; g=&quot;25&quot; b=&quot;5F&quot;/&gt;&lt;m_nBrightness val=&quot;0&quot;/&gt;&lt;/elem&gt;&lt;elem m_fUsage=&quot;8.10798213108752110000E-002&quot;&gt;&lt;m_msothmcolidx val=&quot;0&quot;/&gt;&lt;m_rgb r=&quot;FF&quot; g=&quot;F3&quot; b=&quot;CC&quot;/&gt;&lt;m_nBrightness val=&quot;0&quot;/&gt;&lt;/elem&gt;&lt;elem m_fUsage=&quot;4.80369307720098300000E-002&quot;&gt;&lt;m_msothmcolidx val=&quot;0&quot;/&gt;&lt;m_rgb r=&quot;E3&quot; g=&quot;EB&quot; b=&quot;EF&quot;/&gt;&lt;m_nBrightness val=&quot;0&quot;/&gt;&lt;/elem&gt;&lt;elem m_fUsage=&quot;3.58311146472951660000E-002&quot;&gt;&lt;m_msothmcolidx val=&quot;0&quot;/&gt;&lt;m_rgb r=&quot;8E&quot; g=&quot;AF&quot; b=&quot;BF&quot;/&gt;&lt;m_nBrightness val=&quot;0&quot;/&gt;&lt;/elem&gt;&lt;elem m_fUsage=&quot;7.61773480458665540000E-005&quot;&gt;&lt;m_msothmcolidx val=&quot;0&quot;/&gt;&lt;m_rgb r=&quot;C1&quot; g=&quot;CC&quot; b=&quot;37&quot;/&gt;&lt;m_nBrightness val=&quot;0&quot;/&gt;&lt;/elem&gt;&lt;elem m_fUsage=&quot;2.78870656944492320000E-005&quot;&gt;&lt;m_msothmcolidx val=&quot;0&quot;/&gt;&lt;m_rgb r=&quot;FF&quot; g=&quot;E4&quot; b=&quot;C2&quot;/&gt;&lt;m_nBrightness val=&quot;0&quot;/&gt;&lt;/elem&gt;&lt;elem m_fUsage=&quot;1.48203300797237980000E-005&quot;&gt;&lt;m_msothmcolidx val=&quot;0&quot;/&gt;&lt;m_rgb r=&quot;E3&quot; g=&quot;86&quot; b=&quot;B3&quot;/&gt;&lt;m_nBrightness val=&quot;0&quot;/&gt;&lt;/elem&gt;&lt;elem m_fUsage=&quot;4.65569305590183770000E-006&quot;&gt;&lt;m_msothmcolidx val=&quot;0&quot;/&gt;&lt;m_rgb r=&quot;FD&quot; g=&quot;A7&quot; b=&quot;9C&quot;/&gt;&lt;m_nBrightness val=&quot;0&quot;/&gt;&lt;/elem&gt;&lt;elem m_fUsage=&quot;3.98672347901057400000E-006&quot;&gt;&lt;m_msothmcolidx val=&quot;0&quot;/&gt;&lt;m_rgb r=&quot;FC&quot; g=&quot;2F&quot; b=&quot;18&quot;/&gt;&lt;m_nBrightness val=&quot;0&quot;/&gt;&lt;/elem&gt;&lt;elem m_fUsage=&quot;2.76121736249938270000E-006&quot;&gt;&lt;m_msothmcolidx val=&quot;0&quot;/&gt;&lt;m_rgb r=&quot;FF&quot; g=&quot;E7&quot; b=&quot;99&quot;/&gt;&lt;m_nBrightness val=&quot;0&quot;/&gt;&lt;/elem&gt;&lt;elem m_fUsage=&quot;2.41417023125126870000E-006&quot;&gt;&lt;m_msothmcolidx val=&quot;0&quot;/&gt;&lt;m_rgb r=&quot;92&quot; g=&quot;DA&quot; b=&quot;FF&quot;/&gt;&lt;m_nBrightness val=&quot;0&quot;/&gt;&lt;/elem&gt;&lt;elem m_fUsage=&quot;2.35436090860074700000E-006&quot;&gt;&lt;m_msothmcolidx val=&quot;0&quot;/&gt;&lt;m_rgb r=&quot;C6&quot; g=&quot;C9&quot; b=&quot;DF&quot;/&gt;&lt;m_nBrightness val=&quot;0&quot;/&gt;&lt;/elem&gt;&lt;elem m_fUsage=&quot;2.20941147820391840000E-006&quot;&gt;&lt;m_msothmcolidx val=&quot;0&quot;/&gt;&lt;m_rgb r=&quot;9B&quot; g=&quot;ED&quot; b=&quot;E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C7EDCC"/>
      </a:lt1>
      <a:dk2>
        <a:srgbClr val="1C2980"/>
      </a:dk2>
      <a:lt2>
        <a:srgbClr val="25B4FF"/>
      </a:lt2>
      <a:accent1>
        <a:srgbClr val="1C2980"/>
      </a:accent1>
      <a:accent2>
        <a:srgbClr val="FFCF32"/>
      </a:accent2>
      <a:accent3>
        <a:srgbClr val="37DAD3"/>
      </a:accent3>
      <a:accent4>
        <a:srgbClr val="FB4F39"/>
      </a:accent4>
      <a:accent5>
        <a:srgbClr val="20C22F"/>
      </a:accent5>
      <a:accent6>
        <a:srgbClr val="D1DFE5"/>
      </a:accent6>
      <a:hlink>
        <a:srgbClr val="8EAFBF"/>
      </a:hlink>
      <a:folHlink>
        <a:srgbClr val="FB4F39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00"/>
        </a:solidFill>
        <a:ln>
          <a:solidFill>
            <a:srgbClr val="FF0000"/>
          </a:solidFill>
        </a:ln>
      </a:spPr>
      <a:bodyPr wrap="none" rtlCol="0">
        <a:spAutoFit/>
      </a:bodyPr>
      <a:lstStyle>
        <a:defPPr>
          <a:defRPr sz="1200" b="1" dirty="0" smtClean="0">
            <a:solidFill>
              <a:srgbClr val="FF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IMS Navy">
      <a:srgbClr val="1C2980"/>
    </a:custClr>
    <a:custClr name="IMS Atmosphere">
      <a:srgbClr val="25B4FF"/>
    </a:custClr>
    <a:custClr name="IMS Teal">
      <a:srgbClr val="37DAD3"/>
    </a:custClr>
    <a:custClr name="IMS Yellow">
      <a:srgbClr val="FFCF32"/>
    </a:custClr>
    <a:custClr name="IMS Green">
      <a:srgbClr val="20C22F"/>
    </a:custClr>
    <a:custClr name="IMS Orange">
      <a:srgbClr val="FF940C"/>
    </a:custClr>
    <a:custClr name="IMS Blue">
      <a:srgbClr val="297DFD"/>
    </a:custClr>
    <a:custClr name="IMS Charcoal">
      <a:srgbClr val="3A4F5A"/>
    </a:custClr>
    <a:custClr name="IMS Gray">
      <a:srgbClr val="8EAFBF"/>
    </a:custClr>
    <a:custClr name="IMS Coral">
      <a:srgbClr val="FB4F39"/>
    </a:custClr>
    <a:custClr name="IMS Natural">
      <a:srgbClr val="F7F5F4"/>
    </a:custClr>
  </a:custClrLst>
</a:theme>
</file>

<file path=ppt/theme/theme2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3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6208</TotalTime>
  <Words>2258</Words>
  <Application>Microsoft Office PowerPoint</Application>
  <PresentationFormat>On-screen Show (4:3)</PresentationFormat>
  <Paragraphs>403</Paragraphs>
  <Slides>28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mbria Math</vt:lpstr>
      <vt:lpstr>Verdana</vt:lpstr>
      <vt:lpstr>Wingdings</vt:lpstr>
      <vt:lpstr>blank</vt:lpstr>
      <vt:lpstr>think-cell Folie</vt:lpstr>
      <vt:lpstr>Shire HAE follow-up analysis project &amp; MS project</vt:lpstr>
      <vt:lpstr>Content</vt:lpstr>
      <vt:lpstr>Shire HAE follow-up - Objective</vt:lpstr>
      <vt:lpstr>Shire HAE follow-up - dataset</vt:lpstr>
      <vt:lpstr>Shire HAE follow-up - feature</vt:lpstr>
      <vt:lpstr>Shire HAE follow-up – Model (Bagging randomForest modelling)</vt:lpstr>
      <vt:lpstr>Shire HAE follow-up - Evaluation / test</vt:lpstr>
      <vt:lpstr>Shire HAE follow-up - Evaluation / test</vt:lpstr>
      <vt:lpstr>Shire HAE follow-up – additional investigation (similarity model)</vt:lpstr>
      <vt:lpstr>Shire HAE follow-up - additional investigation (easy positive selection )</vt:lpstr>
      <vt:lpstr>Shire HAE follow-up - additional investigation</vt:lpstr>
      <vt:lpstr>Shire HAE follow-up - additional investigation (ensemble model)</vt:lpstr>
      <vt:lpstr>Shire HAE follow-up - additional investigation (ensemble model)</vt:lpstr>
      <vt:lpstr>Shire HAE follow-up – additional Investigation</vt:lpstr>
      <vt:lpstr>Content</vt:lpstr>
      <vt:lpstr>MS - Objectives</vt:lpstr>
      <vt:lpstr>MS – Study design</vt:lpstr>
      <vt:lpstr>MS – create cohort data</vt:lpstr>
      <vt:lpstr>MS – Modelling</vt:lpstr>
      <vt:lpstr>MS – Information we focus on for the above three type models</vt:lpstr>
      <vt:lpstr>MS – Cross-validation resampling</vt:lpstr>
      <vt:lpstr>MS – Variable exploration</vt:lpstr>
      <vt:lpstr>MS – Variable exploration</vt:lpstr>
      <vt:lpstr>Some experience to share</vt:lpstr>
      <vt:lpstr>Some experience to share</vt:lpstr>
      <vt:lpstr>Some experience to share</vt:lpstr>
      <vt:lpstr>Some experience to share</vt:lpstr>
      <vt:lpstr>Some experience to share</vt:lpstr>
    </vt:vector>
  </TitlesOfParts>
  <Company>IMS HEALT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otional effectiveness &amp; best-practice marketing mix</dc:title>
  <dc:creator>Bohlaender, Benjamin (Frankfurt)</dc:creator>
  <cp:lastModifiedBy>Jie Zhao</cp:lastModifiedBy>
  <cp:revision>1227</cp:revision>
  <dcterms:created xsi:type="dcterms:W3CDTF">2015-04-08T13:58:38Z</dcterms:created>
  <dcterms:modified xsi:type="dcterms:W3CDTF">2017-03-03T05:48:44Z</dcterms:modified>
</cp:coreProperties>
</file>